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webextensions/taskpanes.xml" ContentType="application/vnd.ms-office.webextensiontaskpanes+xml"/>
  <Override PartName="/ppt/webextensions/webextension1.xml" ContentType="application/vnd.ms-office.webextension+xml"/>
  <Override PartName="/ppt/webextensions/webextension2.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1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3.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officeDocument/2006/relationships/officeDocument" Target="ppt/presentation.xml"/><Relationship Id="rId1" Type="http://schemas.microsoft.com/office/2011/relationships/webextensiontaskpanes" Target="ppt/webextensions/taskpanes.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 id="2147483672" r:id="rId5"/>
  </p:sldMasterIdLst>
  <p:notesMasterIdLst>
    <p:notesMasterId r:id="rId43"/>
  </p:notesMasterIdLst>
  <p:handoutMasterIdLst>
    <p:handoutMasterId r:id="rId44"/>
  </p:handoutMasterIdLst>
  <p:sldIdLst>
    <p:sldId id="277" r:id="rId6"/>
    <p:sldId id="300" r:id="rId7"/>
    <p:sldId id="298" r:id="rId8"/>
    <p:sldId id="296" r:id="rId9"/>
    <p:sldId id="299" r:id="rId10"/>
    <p:sldId id="314" r:id="rId11"/>
    <p:sldId id="318" r:id="rId12"/>
    <p:sldId id="319" r:id="rId13"/>
    <p:sldId id="315" r:id="rId14"/>
    <p:sldId id="272" r:id="rId15"/>
    <p:sldId id="320" r:id="rId16"/>
    <p:sldId id="321" r:id="rId17"/>
    <p:sldId id="322" r:id="rId18"/>
    <p:sldId id="323" r:id="rId19"/>
    <p:sldId id="324" r:id="rId20"/>
    <p:sldId id="325" r:id="rId21"/>
    <p:sldId id="328" r:id="rId22"/>
    <p:sldId id="327" r:id="rId23"/>
    <p:sldId id="329" r:id="rId24"/>
    <p:sldId id="330" r:id="rId25"/>
    <p:sldId id="311" r:id="rId26"/>
    <p:sldId id="309" r:id="rId27"/>
    <p:sldId id="331" r:id="rId28"/>
    <p:sldId id="332" r:id="rId29"/>
    <p:sldId id="316" r:id="rId30"/>
    <p:sldId id="310" r:id="rId31"/>
    <p:sldId id="317" r:id="rId32"/>
    <p:sldId id="307" r:id="rId33"/>
    <p:sldId id="308" r:id="rId34"/>
    <p:sldId id="306" r:id="rId35"/>
    <p:sldId id="302" r:id="rId36"/>
    <p:sldId id="303" r:id="rId37"/>
    <p:sldId id="304" r:id="rId38"/>
    <p:sldId id="305" r:id="rId39"/>
    <p:sldId id="269" r:id="rId40"/>
    <p:sldId id="285" r:id="rId41"/>
    <p:sldId id="326" r:id="rId4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7EE"/>
    <a:srgbClr val="0044A5"/>
    <a:srgbClr val="0056B7"/>
    <a:srgbClr val="4BA5FF"/>
    <a:srgbClr val="005CB8"/>
    <a:srgbClr val="303E48"/>
    <a:srgbClr val="303E4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979" autoAdjust="0"/>
    <p:restoredTop sz="85555" autoAdjust="0"/>
  </p:normalViewPr>
  <p:slideViewPr>
    <p:cSldViewPr snapToGrid="0">
      <p:cViewPr varScale="1">
        <p:scale>
          <a:sx n="77" d="100"/>
          <a:sy n="77" d="100"/>
        </p:scale>
        <p:origin x="91" y="154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theme" Target="theme/theme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microsoft.com/office/2015/10/relationships/revisionInfo" Target="revisionInfo.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notesMaster" Target="notesMasters/notesMaster1.xml"/><Relationship Id="rId48" Type="http://schemas.openxmlformats.org/officeDocument/2006/relationships/tableStyles" Target="tableStyles.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viewProps" Target="viewProps.xml"/><Relationship Id="rId20" Type="http://schemas.openxmlformats.org/officeDocument/2006/relationships/slide" Target="slides/slide15.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C3D139D-0E9E-4EC8-940F-CBC1D8B0B74D}" type="datetimeFigureOut">
              <a:rPr lang="en-US" smtClean="0"/>
              <a:t>11/15/2017</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147DD74-E843-4AB5-BDCA-41531D4F5235}" type="slidenum">
              <a:rPr lang="en-US" smtClean="0"/>
              <a:t>‹#›</a:t>
            </a:fld>
            <a:endParaRPr lang="en-US"/>
          </a:p>
        </p:txBody>
      </p:sp>
    </p:spTree>
    <p:extLst>
      <p:ext uri="{BB962C8B-B14F-4D97-AF65-F5344CB8AC3E}">
        <p14:creationId xmlns:p14="http://schemas.microsoft.com/office/powerpoint/2010/main" val="342359015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A3B1B9F-6137-408C-9132-957537BDFACE}" type="datetimeFigureOut">
              <a:rPr lang="en-US" smtClean="0"/>
              <a:t>11/15/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0291D18-4659-4470-9E79-D1AC771793C9}" type="slidenum">
              <a:rPr lang="en-US" smtClean="0"/>
              <a:t>‹#›</a:t>
            </a:fld>
            <a:endParaRPr lang="en-US"/>
          </a:p>
        </p:txBody>
      </p:sp>
    </p:spTree>
    <p:extLst>
      <p:ext uri="{BB962C8B-B14F-4D97-AF65-F5344CB8AC3E}">
        <p14:creationId xmlns:p14="http://schemas.microsoft.com/office/powerpoint/2010/main" val="40597992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endParaRPr lang="en-US"/>
          </a:p>
        </p:txBody>
      </p:sp>
      <p:sp>
        <p:nvSpPr>
          <p:cNvPr id="4" name="Slide Number Placeholder 3"/>
          <p:cNvSpPr>
            <a:spLocks noGrp="1"/>
          </p:cNvSpPr>
          <p:nvPr>
            <p:ph type="sldNum" sz="quarter" idx="10"/>
          </p:nvPr>
        </p:nvSpPr>
        <p:spPr/>
        <p:txBody>
          <a:bodyPr/>
          <a:lstStyle/>
          <a:p>
            <a:fld id="{A0291D18-4659-4470-9E79-D1AC771793C9}" type="slidenum">
              <a:rPr lang="en-US" smtClean="0"/>
              <a:t>1</a:t>
            </a:fld>
            <a:endParaRPr lang="en-US"/>
          </a:p>
        </p:txBody>
      </p:sp>
    </p:spTree>
    <p:extLst>
      <p:ext uri="{BB962C8B-B14F-4D97-AF65-F5344CB8AC3E}">
        <p14:creationId xmlns:p14="http://schemas.microsoft.com/office/powerpoint/2010/main" val="20792252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og10</a:t>
            </a:r>
            <a:r>
              <a:rPr lang="en-US" baseline="0" dirty="0" smtClean="0"/>
              <a:t> – remember to configure the results </a:t>
            </a:r>
            <a:r>
              <a:rPr lang="en-US" u="sng" baseline="0" dirty="0" smtClean="0"/>
              <a:t>in place</a:t>
            </a:r>
          </a:p>
          <a:p>
            <a:r>
              <a:rPr lang="en-US" dirty="0" smtClean="0"/>
              <a:t>Feature Selection did not work – likely because there were not that many variables. </a:t>
            </a:r>
            <a:endParaRPr lang="en-US" dirty="0"/>
          </a:p>
        </p:txBody>
      </p:sp>
      <p:sp>
        <p:nvSpPr>
          <p:cNvPr id="4" name="Slide Number Placeholder 3"/>
          <p:cNvSpPr>
            <a:spLocks noGrp="1"/>
          </p:cNvSpPr>
          <p:nvPr>
            <p:ph type="sldNum" sz="quarter" idx="10"/>
          </p:nvPr>
        </p:nvSpPr>
        <p:spPr/>
        <p:txBody>
          <a:bodyPr/>
          <a:lstStyle/>
          <a:p>
            <a:fld id="{A0291D18-4659-4470-9E79-D1AC771793C9}" type="slidenum">
              <a:rPr lang="en-US" smtClean="0"/>
              <a:t>15</a:t>
            </a:fld>
            <a:endParaRPr lang="en-US"/>
          </a:p>
        </p:txBody>
      </p:sp>
    </p:spTree>
    <p:extLst>
      <p:ext uri="{BB962C8B-B14F-4D97-AF65-F5344CB8AC3E}">
        <p14:creationId xmlns:p14="http://schemas.microsoft.com/office/powerpoint/2010/main" val="41543505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hurn definition see http://customer-churn.com/</a:t>
            </a:r>
          </a:p>
          <a:p>
            <a:endParaRPr lang="en-US" u="sng" dirty="0"/>
          </a:p>
        </p:txBody>
      </p:sp>
      <p:sp>
        <p:nvSpPr>
          <p:cNvPr id="4" name="Slide Number Placeholder 3"/>
          <p:cNvSpPr>
            <a:spLocks noGrp="1"/>
          </p:cNvSpPr>
          <p:nvPr>
            <p:ph type="sldNum" sz="quarter" idx="10"/>
          </p:nvPr>
        </p:nvSpPr>
        <p:spPr/>
        <p:txBody>
          <a:bodyPr/>
          <a:lstStyle/>
          <a:p>
            <a:fld id="{A0291D18-4659-4470-9E79-D1AC771793C9}" type="slidenum">
              <a:rPr lang="en-US" smtClean="0"/>
              <a:t>16</a:t>
            </a:fld>
            <a:endParaRPr lang="en-US"/>
          </a:p>
        </p:txBody>
      </p:sp>
    </p:spTree>
    <p:extLst>
      <p:ext uri="{BB962C8B-B14F-4D97-AF65-F5344CB8AC3E}">
        <p14:creationId xmlns:p14="http://schemas.microsoft.com/office/powerpoint/2010/main" val="16036844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dirty="0" smtClean="0">
                <a:solidFill>
                  <a:schemeClr val="tx1"/>
                </a:solidFill>
                <a:effectLst/>
                <a:latin typeface="+mn-lt"/>
                <a:ea typeface="+mn-ea"/>
                <a:cs typeface="+mn-cs"/>
              </a:rPr>
              <a:t>KDD Cup</a:t>
            </a:r>
            <a:r>
              <a:rPr lang="en-US" sz="1200" b="0" i="0" u="none" strike="noStrike" kern="1200" dirty="0" smtClean="0">
                <a:solidFill>
                  <a:schemeClr val="tx1"/>
                </a:solidFill>
                <a:effectLst/>
                <a:latin typeface="+mn-lt"/>
                <a:ea typeface="+mn-ea"/>
                <a:cs typeface="+mn-cs"/>
              </a:rPr>
              <a:t> is the annual Data Mining and Knowledge Discovery competition organized by ACM Special Interest Group on Knowledge Discovery and Data Mining, the leading professional organization of data miners. </a:t>
            </a:r>
            <a:r>
              <a:rPr lang="en-US" dirty="0" smtClean="0"/>
              <a:t>(SIGKDD)</a:t>
            </a:r>
          </a:p>
          <a:p>
            <a:endParaRPr lang="en-US" dirty="0" smtClean="0"/>
          </a:p>
          <a:p>
            <a:r>
              <a:rPr lang="en-US" sz="1200" b="0" i="0" u="none" strike="noStrike" kern="1200" dirty="0" smtClean="0">
                <a:solidFill>
                  <a:schemeClr val="tx1"/>
                </a:solidFill>
                <a:effectLst/>
                <a:latin typeface="+mn-lt"/>
                <a:ea typeface="+mn-ea"/>
                <a:cs typeface="+mn-cs"/>
              </a:rPr>
              <a:t>The Association for Computing Machinery (ACM) is widely recognized as the premier membership organization for computing professionals, delivering resources that advance computing as a science and profession; enabling professional development; and promoting policies and research that benefit society.</a:t>
            </a:r>
            <a:endParaRPr lang="en-US" dirty="0"/>
          </a:p>
        </p:txBody>
      </p:sp>
      <p:sp>
        <p:nvSpPr>
          <p:cNvPr id="4" name="Slide Number Placeholder 3"/>
          <p:cNvSpPr>
            <a:spLocks noGrp="1"/>
          </p:cNvSpPr>
          <p:nvPr>
            <p:ph type="sldNum" sz="quarter" idx="10"/>
          </p:nvPr>
        </p:nvSpPr>
        <p:spPr/>
        <p:txBody>
          <a:bodyPr/>
          <a:lstStyle/>
          <a:p>
            <a:fld id="{A0291D18-4659-4470-9E79-D1AC771793C9}" type="slidenum">
              <a:rPr lang="en-US" smtClean="0"/>
              <a:t>17</a:t>
            </a:fld>
            <a:endParaRPr lang="en-US"/>
          </a:p>
        </p:txBody>
      </p:sp>
    </p:spTree>
    <p:extLst>
      <p:ext uri="{BB962C8B-B14F-4D97-AF65-F5344CB8AC3E}">
        <p14:creationId xmlns:p14="http://schemas.microsoft.com/office/powerpoint/2010/main" val="7036770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Get data here:  http://www.kdd.org/kdd-cup/view/kdd-cup-2009/Data</a:t>
            </a:r>
          </a:p>
          <a:p>
            <a:r>
              <a:rPr lang="en-US" dirty="0" smtClean="0"/>
              <a:t>Data file name :  </a:t>
            </a:r>
            <a:r>
              <a:rPr lang="en-US" dirty="0" err="1" smtClean="0"/>
              <a:t>orange_small_train.data</a:t>
            </a:r>
            <a:endParaRPr lang="en-US" dirty="0" smtClean="0"/>
          </a:p>
          <a:p>
            <a:endParaRPr lang="en-US" u="sng" dirty="0"/>
          </a:p>
        </p:txBody>
      </p:sp>
      <p:sp>
        <p:nvSpPr>
          <p:cNvPr id="4" name="Slide Number Placeholder 3"/>
          <p:cNvSpPr>
            <a:spLocks noGrp="1"/>
          </p:cNvSpPr>
          <p:nvPr>
            <p:ph type="sldNum" sz="quarter" idx="10"/>
          </p:nvPr>
        </p:nvSpPr>
        <p:spPr/>
        <p:txBody>
          <a:bodyPr/>
          <a:lstStyle/>
          <a:p>
            <a:fld id="{A0291D18-4659-4470-9E79-D1AC771793C9}" type="slidenum">
              <a:rPr lang="en-US" smtClean="0"/>
              <a:t>18</a:t>
            </a:fld>
            <a:endParaRPr lang="en-US"/>
          </a:p>
        </p:txBody>
      </p:sp>
    </p:spTree>
    <p:extLst>
      <p:ext uri="{BB962C8B-B14F-4D97-AF65-F5344CB8AC3E}">
        <p14:creationId xmlns:p14="http://schemas.microsoft.com/office/powerpoint/2010/main" val="350394907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0291D18-4659-4470-9E79-D1AC771793C9}" type="slidenum">
              <a:rPr lang="en-US" smtClean="0"/>
              <a:t>19</a:t>
            </a:fld>
            <a:endParaRPr lang="en-US"/>
          </a:p>
        </p:txBody>
      </p:sp>
    </p:spTree>
    <p:extLst>
      <p:ext uri="{BB962C8B-B14F-4D97-AF65-F5344CB8AC3E}">
        <p14:creationId xmlns:p14="http://schemas.microsoft.com/office/powerpoint/2010/main" val="1122647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key difference between the 2 models is:</a:t>
            </a:r>
          </a:p>
          <a:p>
            <a:pPr marL="171450" indent="-171450">
              <a:buFontTx/>
              <a:buChar char="-"/>
            </a:pPr>
            <a:r>
              <a:rPr lang="en-US" dirty="0" smtClean="0"/>
              <a:t>In boosted decision tree algorithms multiple decision</a:t>
            </a:r>
            <a:r>
              <a:rPr lang="en-US" baseline="0" dirty="0" smtClean="0"/>
              <a:t> trees are grown in a series such that the output of one tree is the input to the next tree (boosting approach to modeling)</a:t>
            </a:r>
          </a:p>
          <a:p>
            <a:pPr marL="171450" indent="-171450">
              <a:buFontTx/>
              <a:buChar char="-"/>
            </a:pPr>
            <a:r>
              <a:rPr lang="en-US" baseline="0" dirty="0" smtClean="0"/>
              <a:t>Decision Forest algorithm grows each decision tree independently of one and other.  Each tree in the ensemble uses a sample of data drawn from the original dataset. (Bagging approach of ensemble modeling)</a:t>
            </a:r>
            <a:endParaRPr lang="en-US" dirty="0"/>
          </a:p>
        </p:txBody>
      </p:sp>
      <p:sp>
        <p:nvSpPr>
          <p:cNvPr id="4" name="Slide Number Placeholder 3"/>
          <p:cNvSpPr>
            <a:spLocks noGrp="1"/>
          </p:cNvSpPr>
          <p:nvPr>
            <p:ph type="sldNum" sz="quarter" idx="10"/>
          </p:nvPr>
        </p:nvSpPr>
        <p:spPr/>
        <p:txBody>
          <a:bodyPr/>
          <a:lstStyle/>
          <a:p>
            <a:fld id="{A0291D18-4659-4470-9E79-D1AC771793C9}" type="slidenum">
              <a:rPr lang="en-US" smtClean="0"/>
              <a:t>20</a:t>
            </a:fld>
            <a:endParaRPr lang="en-US"/>
          </a:p>
        </p:txBody>
      </p:sp>
    </p:spTree>
    <p:extLst>
      <p:ext uri="{BB962C8B-B14F-4D97-AF65-F5344CB8AC3E}">
        <p14:creationId xmlns:p14="http://schemas.microsoft.com/office/powerpoint/2010/main" val="242787134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ttp://businessforecastblog.com/whats-the-lift-of-your-churn-model-predictive-analytics-and-big-data/</a:t>
            </a:r>
            <a:endParaRPr lang="en-US" dirty="0"/>
          </a:p>
        </p:txBody>
      </p:sp>
      <p:sp>
        <p:nvSpPr>
          <p:cNvPr id="4" name="Slide Number Placeholder 3"/>
          <p:cNvSpPr>
            <a:spLocks noGrp="1"/>
          </p:cNvSpPr>
          <p:nvPr>
            <p:ph type="sldNum" sz="quarter" idx="10"/>
          </p:nvPr>
        </p:nvSpPr>
        <p:spPr/>
        <p:txBody>
          <a:bodyPr/>
          <a:lstStyle/>
          <a:p>
            <a:fld id="{A0291D18-4659-4470-9E79-D1AC771793C9}" type="slidenum">
              <a:rPr lang="en-US" smtClean="0"/>
              <a:t>21</a:t>
            </a:fld>
            <a:endParaRPr lang="en-US"/>
          </a:p>
        </p:txBody>
      </p:sp>
    </p:spTree>
    <p:extLst>
      <p:ext uri="{BB962C8B-B14F-4D97-AF65-F5344CB8AC3E}">
        <p14:creationId xmlns:p14="http://schemas.microsoft.com/office/powerpoint/2010/main" val="87528913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mtClean="0"/>
              <a:t>Data source:  https://archive.ics.uci.edu/ml/datasets/Wholesale+customers</a:t>
            </a:r>
            <a:endParaRPr lang="en-US" dirty="0" smtClean="0"/>
          </a:p>
          <a:p>
            <a:endParaRPr lang="en-US" u="sng" dirty="0"/>
          </a:p>
        </p:txBody>
      </p:sp>
      <p:sp>
        <p:nvSpPr>
          <p:cNvPr id="4" name="Slide Number Placeholder 3"/>
          <p:cNvSpPr>
            <a:spLocks noGrp="1"/>
          </p:cNvSpPr>
          <p:nvPr>
            <p:ph type="sldNum" sz="quarter" idx="10"/>
          </p:nvPr>
        </p:nvSpPr>
        <p:spPr/>
        <p:txBody>
          <a:bodyPr/>
          <a:lstStyle/>
          <a:p>
            <a:fld id="{A0291D18-4659-4470-9E79-D1AC771793C9}" type="slidenum">
              <a:rPr lang="en-US" smtClean="0"/>
              <a:t>23</a:t>
            </a:fld>
            <a:endParaRPr lang="en-US"/>
          </a:p>
        </p:txBody>
      </p:sp>
    </p:spTree>
    <p:extLst>
      <p:ext uri="{BB962C8B-B14F-4D97-AF65-F5344CB8AC3E}">
        <p14:creationId xmlns:p14="http://schemas.microsoft.com/office/powerpoint/2010/main" val="213555057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Get data here:  http://www.kdd.org/kdd-cup/view/kdd-cup-2009/Data</a:t>
            </a:r>
          </a:p>
          <a:p>
            <a:r>
              <a:rPr lang="en-US" dirty="0" smtClean="0"/>
              <a:t>Data file name :  </a:t>
            </a:r>
            <a:r>
              <a:rPr lang="en-US" dirty="0" err="1" smtClean="0"/>
              <a:t>orange_small_train.data</a:t>
            </a:r>
            <a:endParaRPr lang="en-US" dirty="0" smtClean="0"/>
          </a:p>
          <a:p>
            <a:endParaRPr lang="en-US" u="sng" dirty="0"/>
          </a:p>
        </p:txBody>
      </p:sp>
      <p:sp>
        <p:nvSpPr>
          <p:cNvPr id="4" name="Slide Number Placeholder 3"/>
          <p:cNvSpPr>
            <a:spLocks noGrp="1"/>
          </p:cNvSpPr>
          <p:nvPr>
            <p:ph type="sldNum" sz="quarter" idx="10"/>
          </p:nvPr>
        </p:nvSpPr>
        <p:spPr/>
        <p:txBody>
          <a:bodyPr/>
          <a:lstStyle/>
          <a:p>
            <a:fld id="{A0291D18-4659-4470-9E79-D1AC771793C9}" type="slidenum">
              <a:rPr lang="en-US" smtClean="0"/>
              <a:t>24</a:t>
            </a:fld>
            <a:endParaRPr lang="en-US"/>
          </a:p>
        </p:txBody>
      </p:sp>
    </p:spTree>
    <p:extLst>
      <p:ext uri="{BB962C8B-B14F-4D97-AF65-F5344CB8AC3E}">
        <p14:creationId xmlns:p14="http://schemas.microsoft.com/office/powerpoint/2010/main" val="162276472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291D18-4659-4470-9E79-D1AC771793C9}" type="slidenum">
              <a:rPr lang="en-US" smtClean="0"/>
              <a:t>27</a:t>
            </a:fld>
            <a:endParaRPr lang="en-US"/>
          </a:p>
        </p:txBody>
      </p:sp>
    </p:spTree>
    <p:extLst>
      <p:ext uri="{BB962C8B-B14F-4D97-AF65-F5344CB8AC3E}">
        <p14:creationId xmlns:p14="http://schemas.microsoft.com/office/powerpoint/2010/main" val="32620697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279A10-5E36-40C9-9E72-CF94EC9AE6B3}" type="slidenum">
              <a:rPr kumimoji="0" lang="en-US" sz="1800" b="0" i="0" u="none" strike="noStrike" kern="0" cap="none" spc="0" normalizeH="0" baseline="0" noProof="0" smtClean="0">
                <a:ln>
                  <a:noFill/>
                </a:ln>
                <a:solidFill>
                  <a:sysClr val="windowText" lastClr="000000"/>
                </a:solidFill>
                <a:effectLst/>
                <a:uLnTx/>
                <a:uFillTx/>
                <a:latin typeface="Segoe UI"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a:ln>
                <a:noFill/>
              </a:ln>
              <a:solidFill>
                <a:sysClr val="windowText" lastClr="000000"/>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138774330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291D18-4659-4470-9E79-D1AC771793C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981201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291D18-4659-4470-9E79-D1AC771793C9}" type="slidenum">
              <a:rPr lang="en-US" smtClean="0"/>
              <a:t>35</a:t>
            </a:fld>
            <a:endParaRPr lang="en-US"/>
          </a:p>
        </p:txBody>
      </p:sp>
    </p:spTree>
    <p:extLst>
      <p:ext uri="{BB962C8B-B14F-4D97-AF65-F5344CB8AC3E}">
        <p14:creationId xmlns:p14="http://schemas.microsoft.com/office/powerpoint/2010/main" val="313642546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291D18-4659-4470-9E79-D1AC771793C9}" type="slidenum">
              <a:rPr lang="en-US" smtClean="0"/>
              <a:t>36</a:t>
            </a:fld>
            <a:endParaRPr lang="en-US"/>
          </a:p>
        </p:txBody>
      </p:sp>
    </p:spTree>
    <p:extLst>
      <p:ext uri="{BB962C8B-B14F-4D97-AF65-F5344CB8AC3E}">
        <p14:creationId xmlns:p14="http://schemas.microsoft.com/office/powerpoint/2010/main" val="12612794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279A10-5E36-40C9-9E72-CF94EC9AE6B3}" type="slidenum">
              <a:rPr kumimoji="0" lang="en-US" sz="1800" b="0" i="0" u="none" strike="noStrike" kern="0" cap="none" spc="0" normalizeH="0" baseline="0" noProof="0" smtClean="0">
                <a:ln>
                  <a:noFill/>
                </a:ln>
                <a:solidFill>
                  <a:sysClr val="windowText" lastClr="000000"/>
                </a:solidFill>
                <a:effectLst/>
                <a:uLnTx/>
                <a:uFillTx/>
                <a:latin typeface="Segoe UI"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a:ln>
                <a:noFill/>
              </a:ln>
              <a:solidFill>
                <a:sysClr val="windowText" lastClr="000000"/>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10494052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291D18-4659-4470-9E79-D1AC771793C9}" type="slidenum">
              <a:rPr lang="en-US" smtClean="0"/>
              <a:t>4</a:t>
            </a:fld>
            <a:endParaRPr lang="en-US"/>
          </a:p>
        </p:txBody>
      </p:sp>
    </p:spTree>
    <p:extLst>
      <p:ext uri="{BB962C8B-B14F-4D97-AF65-F5344CB8AC3E}">
        <p14:creationId xmlns:p14="http://schemas.microsoft.com/office/powerpoint/2010/main" val="6137671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0D954C-E6BD-4495-8C98-461FA04AEEDF}" type="datetime1">
              <a:rPr kumimoji="0" lang="en-US" sz="1800" b="0" i="0" u="none" strike="noStrike" kern="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5/2017</a:t>
            </a:fld>
            <a:endParaRPr kumimoji="0" lang="en-US" sz="1800" b="0" i="0" u="none" strike="noStrike" kern="0" cap="none" spc="0" normalizeH="0" baseline="0" noProof="0">
              <a:ln>
                <a:noFill/>
              </a:ln>
              <a:solidFill>
                <a:prstClr val="black"/>
              </a:solidFill>
              <a:effectLst/>
              <a:uLnTx/>
              <a:uFillTx/>
              <a:latin typeface="Segoe UI" panose="020B0502040204020203" pitchFamily="34" charset="0"/>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a:ln>
                <a:noFill/>
              </a:ln>
              <a:solidFill>
                <a:prstClr val="black"/>
              </a:solidFill>
              <a:effectLst/>
              <a:uLnTx/>
              <a:uFillTx/>
              <a:latin typeface="Segoe UI" panose="020B0502040204020203" pitchFamily="34" charset="0"/>
              <a:ea typeface="+mn-ea"/>
              <a:cs typeface="+mn-cs"/>
            </a:endParaRPr>
          </a:p>
        </p:txBody>
      </p:sp>
      <p:sp>
        <p:nvSpPr>
          <p:cNvPr id="6" name="Header Placeholder 5"/>
          <p:cNvSpPr>
            <a:spLocks noGrp="1"/>
          </p:cNvSpPr>
          <p:nvPr>
            <p:ph type="hdr"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Segoe UI" panose="020B0502040204020203" pitchFamily="34" charset="0"/>
                <a:ea typeface="+mn-ea"/>
                <a:cs typeface="+mn-cs"/>
              </a:rPr>
              <a:t>Microsoft Office365</a:t>
            </a:r>
          </a:p>
        </p:txBody>
      </p:sp>
      <p:sp>
        <p:nvSpPr>
          <p:cNvPr id="7" name="Footer Placeholder 6"/>
          <p:cNvSpPr>
            <a:spLocks noGrp="1"/>
          </p:cNvSpPr>
          <p:nvPr>
            <p:ph type="ftr" sz="quarter" idx="13"/>
          </p:nvPr>
        </p:nvSpPr>
        <p:spPr/>
        <p:txBody>
          <a:bodyPr/>
          <a:lstStyle/>
          <a:p>
            <a:pPr marL="231775" marR="0" lvl="0" indent="0" algn="l" defTabSz="914099" rtl="0" eaLnBrk="0" fontAlgn="auto" latinLnBrk="0" hangingPunct="0">
              <a:lnSpc>
                <a:spcPct val="100000"/>
              </a:lnSpc>
              <a:spcBef>
                <a:spcPts val="0"/>
              </a:spcBef>
              <a:spcAft>
                <a:spcPts val="0"/>
              </a:spcAft>
              <a:buClrTx/>
              <a:buSzTx/>
              <a:buFontTx/>
              <a:buNone/>
              <a:tabLst/>
              <a:defRPr/>
            </a:pPr>
            <a:r>
              <a:rPr kumimoji="0" lang="en-US" sz="5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1775" marR="0" lvl="0" indent="0" algn="l" defTabSz="914099" rtl="0" eaLnBrk="0" fontAlgn="auto" latinLnBrk="0" hangingPunct="0">
              <a:lnSpc>
                <a:spcPct val="100000"/>
              </a:lnSpc>
              <a:spcBef>
                <a:spcPts val="0"/>
              </a:spcBef>
              <a:spcAft>
                <a:spcPts val="0"/>
              </a:spcAft>
              <a:buClrTx/>
              <a:buSzTx/>
              <a:buFontTx/>
              <a:buNone/>
              <a:tabLst/>
              <a:defRPr/>
            </a:pPr>
            <a:r>
              <a:rPr kumimoji="0" lang="en-US" sz="5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2012925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291D18-4659-4470-9E79-D1AC771793C9}" type="slidenum">
              <a:rPr lang="en-US" smtClean="0"/>
              <a:t>10</a:t>
            </a:fld>
            <a:endParaRPr lang="en-US"/>
          </a:p>
        </p:txBody>
      </p:sp>
    </p:spTree>
    <p:extLst>
      <p:ext uri="{BB962C8B-B14F-4D97-AF65-F5344CB8AC3E}">
        <p14:creationId xmlns:p14="http://schemas.microsoft.com/office/powerpoint/2010/main" val="36327884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Buyer Propensity Model - US - Demo1</a:t>
            </a:r>
          </a:p>
          <a:p>
            <a:r>
              <a:rPr lang="en-US" dirty="0" smtClean="0"/>
              <a:t>Log10</a:t>
            </a:r>
            <a:r>
              <a:rPr lang="en-US" baseline="0" dirty="0" smtClean="0"/>
              <a:t> – remember to configure the results </a:t>
            </a:r>
            <a:r>
              <a:rPr lang="en-US" u="sng" baseline="0" dirty="0" smtClean="0"/>
              <a:t>in place</a:t>
            </a:r>
            <a:endParaRPr lang="en-US" u="sng" dirty="0"/>
          </a:p>
        </p:txBody>
      </p:sp>
      <p:sp>
        <p:nvSpPr>
          <p:cNvPr id="4" name="Slide Number Placeholder 3"/>
          <p:cNvSpPr>
            <a:spLocks noGrp="1"/>
          </p:cNvSpPr>
          <p:nvPr>
            <p:ph type="sldNum" sz="quarter" idx="10"/>
          </p:nvPr>
        </p:nvSpPr>
        <p:spPr/>
        <p:txBody>
          <a:bodyPr/>
          <a:lstStyle/>
          <a:p>
            <a:fld id="{A0291D18-4659-4470-9E79-D1AC771793C9}" type="slidenum">
              <a:rPr lang="en-US" smtClean="0"/>
              <a:t>12</a:t>
            </a:fld>
            <a:endParaRPr lang="en-US"/>
          </a:p>
        </p:txBody>
      </p:sp>
    </p:spTree>
    <p:extLst>
      <p:ext uri="{BB962C8B-B14F-4D97-AF65-F5344CB8AC3E}">
        <p14:creationId xmlns:p14="http://schemas.microsoft.com/office/powerpoint/2010/main" val="3030036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og10</a:t>
            </a:r>
            <a:r>
              <a:rPr lang="en-US" baseline="0" dirty="0" smtClean="0"/>
              <a:t> – remember to configure the results </a:t>
            </a:r>
            <a:r>
              <a:rPr lang="en-US" u="sng" baseline="0" dirty="0" smtClean="0"/>
              <a:t>in place</a:t>
            </a:r>
            <a:endParaRPr lang="en-US" u="sng" dirty="0"/>
          </a:p>
        </p:txBody>
      </p:sp>
      <p:sp>
        <p:nvSpPr>
          <p:cNvPr id="4" name="Slide Number Placeholder 3"/>
          <p:cNvSpPr>
            <a:spLocks noGrp="1"/>
          </p:cNvSpPr>
          <p:nvPr>
            <p:ph type="sldNum" sz="quarter" idx="10"/>
          </p:nvPr>
        </p:nvSpPr>
        <p:spPr/>
        <p:txBody>
          <a:bodyPr/>
          <a:lstStyle/>
          <a:p>
            <a:fld id="{A0291D18-4659-4470-9E79-D1AC771793C9}" type="slidenum">
              <a:rPr lang="en-US" smtClean="0"/>
              <a:t>13</a:t>
            </a:fld>
            <a:endParaRPr lang="en-US"/>
          </a:p>
        </p:txBody>
      </p:sp>
    </p:spTree>
    <p:extLst>
      <p:ext uri="{BB962C8B-B14F-4D97-AF65-F5344CB8AC3E}">
        <p14:creationId xmlns:p14="http://schemas.microsoft.com/office/powerpoint/2010/main" val="39225742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og10</a:t>
            </a:r>
            <a:r>
              <a:rPr lang="en-US" baseline="0" dirty="0" smtClean="0"/>
              <a:t> – remember to configure the results </a:t>
            </a:r>
            <a:r>
              <a:rPr lang="en-US" u="sng" baseline="0" dirty="0" smtClean="0"/>
              <a:t>in place</a:t>
            </a:r>
            <a:endParaRPr lang="en-US" u="sng" dirty="0"/>
          </a:p>
        </p:txBody>
      </p:sp>
      <p:sp>
        <p:nvSpPr>
          <p:cNvPr id="4" name="Slide Number Placeholder 3"/>
          <p:cNvSpPr>
            <a:spLocks noGrp="1"/>
          </p:cNvSpPr>
          <p:nvPr>
            <p:ph type="sldNum" sz="quarter" idx="10"/>
          </p:nvPr>
        </p:nvSpPr>
        <p:spPr/>
        <p:txBody>
          <a:bodyPr/>
          <a:lstStyle/>
          <a:p>
            <a:fld id="{A0291D18-4659-4470-9E79-D1AC771793C9}" type="slidenum">
              <a:rPr lang="en-US" smtClean="0"/>
              <a:t>14</a:t>
            </a:fld>
            <a:endParaRPr lang="en-US"/>
          </a:p>
        </p:txBody>
      </p:sp>
    </p:spTree>
    <p:extLst>
      <p:ext uri="{BB962C8B-B14F-4D97-AF65-F5344CB8AC3E}">
        <p14:creationId xmlns:p14="http://schemas.microsoft.com/office/powerpoint/2010/main" val="374235876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Master" Target="../slideMasters/slideMaster1.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3.vml"/><Relationship Id="rId6" Type="http://schemas.microsoft.com/office/2007/relationships/hdphoto" Target="../media/hdphoto1.wdp"/><Relationship Id="rId5" Type="http://schemas.openxmlformats.org/officeDocument/2006/relationships/image" Target="../media/image5.png"/><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7.png"/><Relationship Id="rId2" Type="http://schemas.openxmlformats.org/officeDocument/2006/relationships/tags" Target="../tags/tag11.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image" Target="../media/image6.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6.jpeg"/></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oleObject" Target="../embeddings/oleObject7.bin"/><Relationship Id="rId5" Type="http://schemas.openxmlformats.org/officeDocument/2006/relationships/image" Target="../media/image4.png"/><Relationship Id="rId4" Type="http://schemas.openxmlformats.org/officeDocument/2006/relationships/image" Target="../media/image8.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90"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26146" y="3941212"/>
            <a:ext cx="8459244" cy="738664"/>
          </a:xfrm>
          <a:noFill/>
        </p:spPr>
        <p:txBody>
          <a:bodyPr wrap="square" anchor="b" anchorCtr="0">
            <a:spAutoFit/>
          </a:bodyPr>
          <a:lstStyle>
            <a:lvl1pPr algn="l">
              <a:lnSpc>
                <a:spcPct val="100000"/>
              </a:lnSpc>
              <a:defRPr sz="4800" spc="-150" baseline="0">
                <a:solidFill>
                  <a:schemeClr val="accent2"/>
                </a:solidFill>
                <a:latin typeface="Segoe UI Semibold" panose="020B0702040204020203" pitchFamily="34" charset="0"/>
                <a:cs typeface="Segoe UI Semibold" panose="020B0702040204020203" pitchFamily="34" charset="0"/>
              </a:defRPr>
            </a:lvl1pPr>
          </a:lstStyle>
          <a:p>
            <a:r>
              <a:rPr lang="en-US"/>
              <a:t>Click to edit title style</a:t>
            </a:r>
          </a:p>
        </p:txBody>
      </p:sp>
      <p:sp>
        <p:nvSpPr>
          <p:cNvPr id="5" name="Text Placeholder 4"/>
          <p:cNvSpPr>
            <a:spLocks noGrp="1"/>
          </p:cNvSpPr>
          <p:nvPr>
            <p:ph type="body" sz="quarter" idx="12" hasCustomPrompt="1"/>
          </p:nvPr>
        </p:nvSpPr>
        <p:spPr>
          <a:xfrm>
            <a:off x="526146" y="4797578"/>
            <a:ext cx="8459244" cy="498598"/>
          </a:xfrm>
          <a:noFill/>
        </p:spPr>
        <p:txBody>
          <a:bodyPr>
            <a:noAutofit/>
          </a:bodyPr>
          <a:lstStyle>
            <a:lvl1pPr marL="0" indent="0" algn="l">
              <a:spcBef>
                <a:spcPts val="0"/>
              </a:spcBef>
              <a:buNone/>
              <a:defRPr sz="2200" spc="-70" baseline="0">
                <a:solidFill>
                  <a:schemeClr val="accent4"/>
                </a:solidFill>
                <a:latin typeface="+mj-lt"/>
              </a:defRPr>
            </a:lvl1pPr>
          </a:lstStyle>
          <a:p>
            <a:pPr lvl="0"/>
            <a:r>
              <a:rPr lang="en-US"/>
              <a:t>Speaker Title</a:t>
            </a:r>
          </a:p>
        </p:txBody>
      </p:sp>
      <p:cxnSp>
        <p:nvCxnSpPr>
          <p:cNvPr id="9" name="Straight Connector 8"/>
          <p:cNvCxnSpPr>
            <a:cxnSpLocks/>
          </p:cNvCxnSpPr>
          <p:nvPr userDrawn="1"/>
        </p:nvCxnSpPr>
        <p:spPr>
          <a:xfrm>
            <a:off x="526146" y="5326277"/>
            <a:ext cx="8459244" cy="0"/>
          </a:xfrm>
          <a:prstGeom prst="line">
            <a:avLst/>
          </a:prstGeom>
          <a:ln w="6350">
            <a:solidFill>
              <a:schemeClr val="accent4">
                <a:alpha val="30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userDrawn="1"/>
        </p:nvPicPr>
        <p:blipFill>
          <a:blip r:embed="rId6"/>
          <a:stretch>
            <a:fillRect/>
          </a:stretch>
        </p:blipFill>
        <p:spPr>
          <a:xfrm>
            <a:off x="508001" y="512763"/>
            <a:ext cx="2068432" cy="490537"/>
          </a:xfrm>
          <a:prstGeom prst="rect">
            <a:avLst/>
          </a:prstGeom>
        </p:spPr>
      </p:pic>
    </p:spTree>
    <p:extLst>
      <p:ext uri="{BB962C8B-B14F-4D97-AF65-F5344CB8AC3E}">
        <p14:creationId xmlns:p14="http://schemas.microsoft.com/office/powerpoint/2010/main" val="2993338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B411E932-CA98-42AF-BB91-F87D9D7D8586}" type="datetimeFigureOut">
              <a:rPr lang="en-US" smtClean="0"/>
              <a:t>11/15/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1F77DEA-1BD0-4A7F-BEEB-9767EC041EE1}" type="slidenum">
              <a:rPr lang="en-US" smtClean="0"/>
              <a:t>‹#›</a:t>
            </a:fld>
            <a:endParaRPr lang="en-US"/>
          </a:p>
        </p:txBody>
      </p:sp>
    </p:spTree>
    <p:extLst>
      <p:ext uri="{BB962C8B-B14F-4D97-AF65-F5344CB8AC3E}">
        <p14:creationId xmlns:p14="http://schemas.microsoft.com/office/powerpoint/2010/main" val="21279884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1"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1" y="3602038"/>
            <a:ext cx="9144000" cy="1655762"/>
          </a:xfrm>
        </p:spPr>
        <p:txBody>
          <a:bodyPr/>
          <a:lstStyle>
            <a:lvl1pPr marL="0" indent="0" algn="ctr">
              <a:buNone/>
              <a:defRPr sz="2399"/>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553E318-42E8-443F-9837-0E2C9B64AFE2}" type="datetimeFigureOut">
              <a:rPr lang="en-US" smtClean="0"/>
              <a:t>11/15/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456804B-F6D7-494C-9678-3941512E2CFE}" type="slidenum">
              <a:rPr lang="en-US" smtClean="0"/>
              <a:t>‹#›</a:t>
            </a:fld>
            <a:endParaRPr lang="en-US"/>
          </a:p>
        </p:txBody>
      </p:sp>
    </p:spTree>
    <p:extLst>
      <p:ext uri="{BB962C8B-B14F-4D97-AF65-F5344CB8AC3E}">
        <p14:creationId xmlns:p14="http://schemas.microsoft.com/office/powerpoint/2010/main" val="10353309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553E318-42E8-443F-9837-0E2C9B64AFE2}" type="datetimeFigureOut">
              <a:rPr lang="en-US" smtClean="0"/>
              <a:t>11/15/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456804B-F6D7-494C-9678-3941512E2CFE}" type="slidenum">
              <a:rPr lang="en-US" smtClean="0"/>
              <a:t>‹#›</a:t>
            </a:fld>
            <a:endParaRPr lang="en-US"/>
          </a:p>
        </p:txBody>
      </p:sp>
    </p:spTree>
    <p:extLst>
      <p:ext uri="{BB962C8B-B14F-4D97-AF65-F5344CB8AC3E}">
        <p14:creationId xmlns:p14="http://schemas.microsoft.com/office/powerpoint/2010/main" val="247342123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40"/>
            <a:ext cx="10515600" cy="2852737"/>
          </a:xfrm>
        </p:spPr>
        <p:txBody>
          <a:bodyPr anchor="b"/>
          <a:lstStyle>
            <a:lvl1pPr>
              <a:defRPr sz="5998"/>
            </a:lvl1pPr>
          </a:lstStyle>
          <a:p>
            <a:r>
              <a:rPr lang="en-US"/>
              <a:t>Click to edit Master title style</a:t>
            </a:r>
          </a:p>
        </p:txBody>
      </p:sp>
      <p:sp>
        <p:nvSpPr>
          <p:cNvPr id="3" name="Text Placeholder 2"/>
          <p:cNvSpPr>
            <a:spLocks noGrp="1"/>
          </p:cNvSpPr>
          <p:nvPr>
            <p:ph type="body" idx="1"/>
          </p:nvPr>
        </p:nvSpPr>
        <p:spPr>
          <a:xfrm>
            <a:off x="831850" y="4589465"/>
            <a:ext cx="10515600" cy="1500187"/>
          </a:xfrm>
        </p:spPr>
        <p:txBody>
          <a:bodyPr/>
          <a:lstStyle>
            <a:lvl1pPr marL="0" indent="0">
              <a:buNone/>
              <a:defRPr sz="2399">
                <a:solidFill>
                  <a:schemeClr val="tx1">
                    <a:tint val="75000"/>
                  </a:schemeClr>
                </a:solidFill>
              </a:defRPr>
            </a:lvl1pPr>
            <a:lvl2pPr marL="457063" indent="0">
              <a:buNone/>
              <a:defRPr sz="1999">
                <a:solidFill>
                  <a:schemeClr val="tx1">
                    <a:tint val="75000"/>
                  </a:schemeClr>
                </a:solidFill>
              </a:defRPr>
            </a:lvl2pPr>
            <a:lvl3pPr marL="914126" indent="0">
              <a:buNone/>
              <a:defRPr sz="1799">
                <a:solidFill>
                  <a:schemeClr val="tx1">
                    <a:tint val="75000"/>
                  </a:schemeClr>
                </a:solidFill>
              </a:defRPr>
            </a:lvl3pPr>
            <a:lvl4pPr marL="1371189" indent="0">
              <a:buNone/>
              <a:defRPr sz="1600">
                <a:solidFill>
                  <a:schemeClr val="tx1">
                    <a:tint val="75000"/>
                  </a:schemeClr>
                </a:solidFill>
              </a:defRPr>
            </a:lvl4pPr>
            <a:lvl5pPr marL="1828251" indent="0">
              <a:buNone/>
              <a:defRPr sz="1600">
                <a:solidFill>
                  <a:schemeClr val="tx1">
                    <a:tint val="75000"/>
                  </a:schemeClr>
                </a:solidFill>
              </a:defRPr>
            </a:lvl5pPr>
            <a:lvl6pPr marL="2285314" indent="0">
              <a:buNone/>
              <a:defRPr sz="1600">
                <a:solidFill>
                  <a:schemeClr val="tx1">
                    <a:tint val="75000"/>
                  </a:schemeClr>
                </a:solidFill>
              </a:defRPr>
            </a:lvl6pPr>
            <a:lvl7pPr marL="2742377" indent="0">
              <a:buNone/>
              <a:defRPr sz="1600">
                <a:solidFill>
                  <a:schemeClr val="tx1">
                    <a:tint val="75000"/>
                  </a:schemeClr>
                </a:solidFill>
              </a:defRPr>
            </a:lvl7pPr>
            <a:lvl8pPr marL="3199440" indent="0">
              <a:buNone/>
              <a:defRPr sz="1600">
                <a:solidFill>
                  <a:schemeClr val="tx1">
                    <a:tint val="75000"/>
                  </a:schemeClr>
                </a:solidFill>
              </a:defRPr>
            </a:lvl8pPr>
            <a:lvl9pPr marL="3656503"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E553E318-42E8-443F-9837-0E2C9B64AFE2}" type="datetimeFigureOut">
              <a:rPr lang="en-US" smtClean="0"/>
              <a:t>11/15/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456804B-F6D7-494C-9678-3941512E2CFE}" type="slidenum">
              <a:rPr lang="en-US" smtClean="0"/>
              <a:t>‹#›</a:t>
            </a:fld>
            <a:endParaRPr lang="en-US"/>
          </a:p>
        </p:txBody>
      </p:sp>
    </p:spTree>
    <p:extLst>
      <p:ext uri="{BB962C8B-B14F-4D97-AF65-F5344CB8AC3E}">
        <p14:creationId xmlns:p14="http://schemas.microsoft.com/office/powerpoint/2010/main" val="245090858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1"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E553E318-42E8-443F-9837-0E2C9B64AFE2}" type="datetimeFigureOut">
              <a:rPr lang="en-US" smtClean="0"/>
              <a:t>11/15/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456804B-F6D7-494C-9678-3941512E2CFE}" type="slidenum">
              <a:rPr lang="en-US" smtClean="0"/>
              <a:t>‹#›</a:t>
            </a:fld>
            <a:endParaRPr lang="en-US"/>
          </a:p>
        </p:txBody>
      </p:sp>
    </p:spTree>
    <p:extLst>
      <p:ext uri="{BB962C8B-B14F-4D97-AF65-F5344CB8AC3E}">
        <p14:creationId xmlns:p14="http://schemas.microsoft.com/office/powerpoint/2010/main" val="3973617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399"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399"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E553E318-42E8-443F-9837-0E2C9B64AFE2}" type="datetimeFigureOut">
              <a:rPr lang="en-US" smtClean="0"/>
              <a:t>11/15/20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9456804B-F6D7-494C-9678-3941512E2CFE}" type="slidenum">
              <a:rPr lang="en-US" smtClean="0"/>
              <a:t>‹#›</a:t>
            </a:fld>
            <a:endParaRPr lang="en-US"/>
          </a:p>
        </p:txBody>
      </p:sp>
    </p:spTree>
    <p:extLst>
      <p:ext uri="{BB962C8B-B14F-4D97-AF65-F5344CB8AC3E}">
        <p14:creationId xmlns:p14="http://schemas.microsoft.com/office/powerpoint/2010/main" val="273847134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E553E318-42E8-443F-9837-0E2C9B64AFE2}" type="datetimeFigureOut">
              <a:rPr lang="en-US" smtClean="0"/>
              <a:t>11/15/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9456804B-F6D7-494C-9678-3941512E2CFE}" type="slidenum">
              <a:rPr lang="en-US" smtClean="0"/>
              <a:t>‹#›</a:t>
            </a:fld>
            <a:endParaRPr lang="en-US"/>
          </a:p>
        </p:txBody>
      </p:sp>
    </p:spTree>
    <p:extLst>
      <p:ext uri="{BB962C8B-B14F-4D97-AF65-F5344CB8AC3E}">
        <p14:creationId xmlns:p14="http://schemas.microsoft.com/office/powerpoint/2010/main" val="270285827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553E318-42E8-443F-9837-0E2C9B64AFE2}" type="datetimeFigureOut">
              <a:rPr lang="en-US" smtClean="0"/>
              <a:t>11/15/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9456804B-F6D7-494C-9678-3941512E2CFE}" type="slidenum">
              <a:rPr lang="en-US" smtClean="0"/>
              <a:t>‹#›</a:t>
            </a:fld>
            <a:endParaRPr lang="en-US"/>
          </a:p>
        </p:txBody>
      </p:sp>
    </p:spTree>
    <p:extLst>
      <p:ext uri="{BB962C8B-B14F-4D97-AF65-F5344CB8AC3E}">
        <p14:creationId xmlns:p14="http://schemas.microsoft.com/office/powerpoint/2010/main" val="300157548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199"/>
            </a:lvl1pPr>
          </a:lstStyle>
          <a:p>
            <a:r>
              <a:rPr lang="en-US"/>
              <a:t>Click to edit Master title style</a:t>
            </a:r>
          </a:p>
        </p:txBody>
      </p:sp>
      <p:sp>
        <p:nvSpPr>
          <p:cNvPr id="3" name="Content Placeholder 2"/>
          <p:cNvSpPr>
            <a:spLocks noGrp="1"/>
          </p:cNvSpPr>
          <p:nvPr>
            <p:ph idx="1"/>
          </p:nvPr>
        </p:nvSpPr>
        <p:spPr>
          <a:xfrm>
            <a:off x="5183188" y="987427"/>
            <a:ext cx="6172200" cy="4873625"/>
          </a:xfrm>
        </p:spPr>
        <p:txBody>
          <a:bodyPr/>
          <a:lstStyle>
            <a:lvl1pPr>
              <a:defRPr sz="3199"/>
            </a:lvl1pPr>
            <a:lvl2pPr>
              <a:defRPr sz="2799"/>
            </a:lvl2pPr>
            <a:lvl3pPr>
              <a:defRPr sz="2399"/>
            </a:lvl3pPr>
            <a:lvl4pPr>
              <a:defRPr sz="1999"/>
            </a:lvl4pPr>
            <a:lvl5pPr>
              <a:defRPr sz="1999"/>
            </a:lvl5pPr>
            <a:lvl6pPr>
              <a:defRPr sz="1999"/>
            </a:lvl6pPr>
            <a:lvl7pPr>
              <a:defRPr sz="1999"/>
            </a:lvl7pPr>
            <a:lvl8pPr>
              <a:defRPr sz="1999"/>
            </a:lvl8pPr>
            <a:lvl9pPr>
              <a:defRPr sz="1999"/>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553E318-42E8-443F-9837-0E2C9B64AFE2}" type="datetimeFigureOut">
              <a:rPr lang="en-US" smtClean="0"/>
              <a:t>11/15/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456804B-F6D7-494C-9678-3941512E2CFE}" type="slidenum">
              <a:rPr lang="en-US" smtClean="0"/>
              <a:t>‹#›</a:t>
            </a:fld>
            <a:endParaRPr lang="en-US"/>
          </a:p>
        </p:txBody>
      </p:sp>
    </p:spTree>
    <p:extLst>
      <p:ext uri="{BB962C8B-B14F-4D97-AF65-F5344CB8AC3E}">
        <p14:creationId xmlns:p14="http://schemas.microsoft.com/office/powerpoint/2010/main" val="176297949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199"/>
            </a:lvl1pPr>
          </a:lstStyle>
          <a:p>
            <a:r>
              <a:rPr lang="en-US"/>
              <a:t>Click to edit Master title style</a:t>
            </a:r>
          </a:p>
        </p:txBody>
      </p:sp>
      <p:sp>
        <p:nvSpPr>
          <p:cNvPr id="3" name="Picture Placeholder 2"/>
          <p:cNvSpPr>
            <a:spLocks noGrp="1"/>
          </p:cNvSpPr>
          <p:nvPr>
            <p:ph type="pic" idx="1"/>
          </p:nvPr>
        </p:nvSpPr>
        <p:spPr>
          <a:xfrm>
            <a:off x="5183188" y="987427"/>
            <a:ext cx="6172200" cy="4873625"/>
          </a:xfrm>
        </p:spPr>
        <p:txBody>
          <a:bodyPr/>
          <a:lstStyle>
            <a:lvl1pPr marL="0" indent="0">
              <a:buNone/>
              <a:defRPr sz="3199"/>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endParaRPr lang="en-US"/>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553E318-42E8-443F-9837-0E2C9B64AFE2}" type="datetimeFigureOut">
              <a:rPr lang="en-US" smtClean="0"/>
              <a:t>11/15/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456804B-F6D7-494C-9678-3941512E2CFE}" type="slidenum">
              <a:rPr lang="en-US" smtClean="0"/>
              <a:t>‹#›</a:t>
            </a:fld>
            <a:endParaRPr lang="en-US"/>
          </a:p>
        </p:txBody>
      </p:sp>
    </p:spTree>
    <p:extLst>
      <p:ext uri="{BB962C8B-B14F-4D97-AF65-F5344CB8AC3E}">
        <p14:creationId xmlns:p14="http://schemas.microsoft.com/office/powerpoint/2010/main" val="600676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Slide 1">
    <p:bg>
      <p:bgPr>
        <a:solidFill>
          <a:srgbClr val="303E49"/>
        </a:solidFill>
        <a:effectLst/>
      </p:bgPr>
    </p:bg>
    <p:spTree>
      <p:nvGrpSpPr>
        <p:cNvPr id="1" name=""/>
        <p:cNvGrpSpPr/>
        <p:nvPr/>
      </p:nvGrpSpPr>
      <p:grpSpPr>
        <a:xfrm>
          <a:off x="0" y="0"/>
          <a:ext cx="0" cy="0"/>
          <a:chOff x="0" y="0"/>
          <a:chExt cx="0" cy="0"/>
        </a:xfrm>
      </p:grpSpPr>
      <p:pic>
        <p:nvPicPr>
          <p:cNvPr id="15" name="Picture 14"/>
          <p:cNvPicPr>
            <a:picLocks noChangeAspect="1"/>
          </p:cNvPicPr>
          <p:nvPr userDrawn="1"/>
        </p:nvPicPr>
        <p:blipFill>
          <a:blip r:embed="rId4"/>
          <a:stretch>
            <a:fillRect/>
          </a:stretch>
        </p:blipFill>
        <p:spPr>
          <a:xfrm>
            <a:off x="508001" y="512763"/>
            <a:ext cx="2072968" cy="493776"/>
          </a:xfrm>
          <a:prstGeom prst="rect">
            <a:avLst/>
          </a:prstGeom>
        </p:spPr>
      </p:pic>
      <p:pic>
        <p:nvPicPr>
          <p:cNvPr id="13" name="Picture 12"/>
          <p:cNvPicPr>
            <a:picLocks noChangeAspect="1"/>
          </p:cNvPicPr>
          <p:nvPr userDrawn="1"/>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colorTemperature colorTemp="11200"/>
                    </a14:imgEffect>
                    <a14:imgEffect>
                      <a14:brightnessContrast bright="40000" contrast="40000"/>
                    </a14:imgEffect>
                  </a14:imgLayer>
                </a14:imgProps>
              </a:ext>
              <a:ext uri="{28A0092B-C50C-407E-A947-70E740481C1C}">
                <a14:useLocalDpi xmlns:a14="http://schemas.microsoft.com/office/drawing/2010/main" val="0"/>
              </a:ext>
            </a:extLst>
          </a:blip>
          <a:srcRect t="16996" r="13300"/>
          <a:stretch>
            <a:fillRect/>
          </a:stretch>
        </p:blipFill>
        <p:spPr>
          <a:xfrm>
            <a:off x="7086600" y="0"/>
            <a:ext cx="5105399" cy="4887782"/>
          </a:xfrm>
          <a:custGeom>
            <a:avLst/>
            <a:gdLst>
              <a:gd name="connsiteX0" fmla="*/ 0 w 5105399"/>
              <a:gd name="connsiteY0" fmla="*/ 0 h 4887782"/>
              <a:gd name="connsiteX1" fmla="*/ 5105399 w 5105399"/>
              <a:gd name="connsiteY1" fmla="*/ 0 h 4887782"/>
              <a:gd name="connsiteX2" fmla="*/ 5105399 w 5105399"/>
              <a:gd name="connsiteY2" fmla="*/ 4887782 h 4887782"/>
              <a:gd name="connsiteX3" fmla="*/ 0 w 5105399"/>
              <a:gd name="connsiteY3" fmla="*/ 4887782 h 4887782"/>
            </a:gdLst>
            <a:ahLst/>
            <a:cxnLst>
              <a:cxn ang="0">
                <a:pos x="connsiteX0" y="connsiteY0"/>
              </a:cxn>
              <a:cxn ang="0">
                <a:pos x="connsiteX1" y="connsiteY1"/>
              </a:cxn>
              <a:cxn ang="0">
                <a:pos x="connsiteX2" y="connsiteY2"/>
              </a:cxn>
              <a:cxn ang="0">
                <a:pos x="connsiteX3" y="connsiteY3"/>
              </a:cxn>
            </a:cxnLst>
            <a:rect l="l" t="t" r="r" b="b"/>
            <a:pathLst>
              <a:path w="5105399" h="4887782">
                <a:moveTo>
                  <a:pt x="0" y="0"/>
                </a:moveTo>
                <a:lnTo>
                  <a:pt x="5105399" y="0"/>
                </a:lnTo>
                <a:lnTo>
                  <a:pt x="5105399" y="4887782"/>
                </a:lnTo>
                <a:lnTo>
                  <a:pt x="0" y="4887782"/>
                </a:lnTo>
                <a:close/>
              </a:path>
            </a:pathLst>
          </a:custGeom>
        </p:spPr>
      </p:pic>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14" name="think-cell Slide" r:id="rId7" imgW="377" imgH="377" progId="TCLayout.ActiveDocument.1">
                  <p:embed/>
                </p:oleObj>
              </mc:Choice>
              <mc:Fallback>
                <p:oleObj name="think-cell Slide" r:id="rId7" imgW="377" imgH="377" progId="TCLayout.ActiveDocument.1">
                  <p:embed/>
                  <p:pic>
                    <p:nvPicPr>
                      <p:cNvPr id="3" name="Object 2"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26146" y="3941212"/>
            <a:ext cx="8459244" cy="738664"/>
          </a:xfrm>
          <a:noFill/>
        </p:spPr>
        <p:txBody>
          <a:bodyPr wrap="square" anchor="b" anchorCtr="0">
            <a:spAutoFit/>
          </a:bodyPr>
          <a:lstStyle>
            <a:lvl1pPr algn="l">
              <a:lnSpc>
                <a:spcPct val="100000"/>
              </a:lnSpc>
              <a:defRPr sz="4800" spc="-150" baseline="0">
                <a:solidFill>
                  <a:schemeClr val="bg2"/>
                </a:solidFill>
                <a:latin typeface="Segoe UI Semibold" panose="020B0702040204020203" pitchFamily="34" charset="0"/>
                <a:cs typeface="Segoe UI Semibold" panose="020B0702040204020203" pitchFamily="34" charset="0"/>
              </a:defRPr>
            </a:lvl1pPr>
          </a:lstStyle>
          <a:p>
            <a:r>
              <a:rPr lang="en-US"/>
              <a:t>Click to edit title style</a:t>
            </a:r>
          </a:p>
        </p:txBody>
      </p:sp>
      <p:sp>
        <p:nvSpPr>
          <p:cNvPr id="5" name="Text Placeholder 4"/>
          <p:cNvSpPr>
            <a:spLocks noGrp="1"/>
          </p:cNvSpPr>
          <p:nvPr>
            <p:ph type="body" sz="quarter" idx="12" hasCustomPrompt="1"/>
          </p:nvPr>
        </p:nvSpPr>
        <p:spPr>
          <a:xfrm>
            <a:off x="526146" y="4797578"/>
            <a:ext cx="8459244" cy="498598"/>
          </a:xfrm>
          <a:noFill/>
        </p:spPr>
        <p:txBody>
          <a:bodyPr>
            <a:noAutofit/>
          </a:bodyPr>
          <a:lstStyle>
            <a:lvl1pPr marL="0" indent="0" algn="l">
              <a:spcBef>
                <a:spcPts val="0"/>
              </a:spcBef>
              <a:buNone/>
              <a:defRPr sz="2200" spc="-70" baseline="0">
                <a:solidFill>
                  <a:schemeClr val="accent4"/>
                </a:solidFill>
                <a:latin typeface="+mj-lt"/>
              </a:defRPr>
            </a:lvl1pPr>
          </a:lstStyle>
          <a:p>
            <a:pPr lvl="0"/>
            <a:r>
              <a:rPr lang="en-US"/>
              <a:t>Speaker Title</a:t>
            </a:r>
          </a:p>
        </p:txBody>
      </p:sp>
      <p:cxnSp>
        <p:nvCxnSpPr>
          <p:cNvPr id="9" name="Straight Connector 8"/>
          <p:cNvCxnSpPr>
            <a:cxnSpLocks/>
          </p:cNvCxnSpPr>
          <p:nvPr userDrawn="1"/>
        </p:nvCxnSpPr>
        <p:spPr>
          <a:xfrm>
            <a:off x="526146" y="5326277"/>
            <a:ext cx="8459244" cy="0"/>
          </a:xfrm>
          <a:prstGeom prst="line">
            <a:avLst/>
          </a:prstGeom>
          <a:ln w="6350">
            <a:solidFill>
              <a:schemeClr val="accent4">
                <a:alpha val="30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905940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553E318-42E8-443F-9837-0E2C9B64AFE2}" type="datetimeFigureOut">
              <a:rPr lang="en-US" smtClean="0"/>
              <a:t>11/15/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456804B-F6D7-494C-9678-3941512E2CFE}" type="slidenum">
              <a:rPr lang="en-US" smtClean="0"/>
              <a:t>‹#›</a:t>
            </a:fld>
            <a:endParaRPr lang="en-US"/>
          </a:p>
        </p:txBody>
      </p:sp>
    </p:spTree>
    <p:extLst>
      <p:ext uri="{BB962C8B-B14F-4D97-AF65-F5344CB8AC3E}">
        <p14:creationId xmlns:p14="http://schemas.microsoft.com/office/powerpoint/2010/main" val="206838323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553E318-42E8-443F-9837-0E2C9B64AFE2}" type="datetimeFigureOut">
              <a:rPr lang="en-US" smtClean="0"/>
              <a:t>11/15/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456804B-F6D7-494C-9678-3941512E2CFE}" type="slidenum">
              <a:rPr lang="en-US" smtClean="0"/>
              <a:t>‹#›</a:t>
            </a:fld>
            <a:endParaRPr lang="en-US"/>
          </a:p>
        </p:txBody>
      </p:sp>
    </p:spTree>
    <p:extLst>
      <p:ext uri="{BB962C8B-B14F-4D97-AF65-F5344CB8AC3E}">
        <p14:creationId xmlns:p14="http://schemas.microsoft.com/office/powerpoint/2010/main" val="331670638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Title Slide 2">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4"/>
          <a:stretch>
            <a:fillRect/>
          </a:stretch>
        </p:blipFill>
        <p:spPr>
          <a:xfrm>
            <a:off x="1" y="0"/>
            <a:ext cx="12192000" cy="6858000"/>
          </a:xfrm>
          <a:prstGeom prst="rect">
            <a:avLst/>
          </a:prstGeom>
        </p:spPr>
      </p:pic>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3594" name="think-cell Slide" r:id="rId5" imgW="377" imgH="377" progId="TCLayout.ActiveDocument.1">
                  <p:embed/>
                </p:oleObj>
              </mc:Choice>
              <mc:Fallback>
                <p:oleObj name="think-cell Slide" r:id="rId5" imgW="377" imgH="377"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4" name="Rectangle 13"/>
          <p:cNvSpPr/>
          <p:nvPr userDrawn="1"/>
        </p:nvSpPr>
        <p:spPr bwMode="auto">
          <a:xfrm>
            <a:off x="1" y="4455322"/>
            <a:ext cx="12192000" cy="2402678"/>
          </a:xfrm>
          <a:prstGeom prst="rect">
            <a:avLst/>
          </a:prstGeom>
          <a:solidFill>
            <a:schemeClr val="bg1"/>
          </a:solidFill>
          <a:ln>
            <a:noFill/>
            <a:headEnd type="none" w="med" len="med"/>
            <a:tailEnd type="none" w="med" len="med"/>
          </a:ln>
          <a:effectLst>
            <a:outerShdw blurRad="50800" dist="38100" dir="16200000"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algn="ctr" defTabSz="913825" fontAlgn="base">
              <a:spcBef>
                <a:spcPct val="0"/>
              </a:spcBef>
              <a:spcAft>
                <a:spcPct val="0"/>
              </a:spcAft>
            </a:pPr>
            <a:endParaRPr lang="en-GB" sz="2199">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26146" y="4647414"/>
            <a:ext cx="8459244" cy="1015343"/>
          </a:xfrm>
          <a:noFill/>
        </p:spPr>
        <p:txBody>
          <a:bodyPr wrap="square" anchor="b" anchorCtr="0">
            <a:spAutoFit/>
          </a:bodyPr>
          <a:lstStyle>
            <a:lvl1pPr algn="l">
              <a:lnSpc>
                <a:spcPct val="100000"/>
              </a:lnSpc>
              <a:defRPr sz="5998" spc="-150" baseline="0">
                <a:solidFill>
                  <a:schemeClr val="accent2"/>
                </a:solidFill>
              </a:defRPr>
            </a:lvl1pPr>
          </a:lstStyle>
          <a:p>
            <a:r>
              <a:rPr lang="en-US"/>
              <a:t>Click to edit title style</a:t>
            </a:r>
          </a:p>
        </p:txBody>
      </p:sp>
      <p:sp>
        <p:nvSpPr>
          <p:cNvPr id="5" name="Text Placeholder 4"/>
          <p:cNvSpPr>
            <a:spLocks noGrp="1"/>
          </p:cNvSpPr>
          <p:nvPr>
            <p:ph type="body" sz="quarter" idx="12" hasCustomPrompt="1"/>
          </p:nvPr>
        </p:nvSpPr>
        <p:spPr>
          <a:xfrm>
            <a:off x="526146" y="5716958"/>
            <a:ext cx="8459244" cy="498598"/>
          </a:xfrm>
          <a:noFill/>
        </p:spPr>
        <p:txBody>
          <a:bodyPr>
            <a:noAutofit/>
          </a:bodyPr>
          <a:lstStyle>
            <a:lvl1pPr marL="0" indent="0" algn="l">
              <a:spcBef>
                <a:spcPts val="0"/>
              </a:spcBef>
              <a:buNone/>
              <a:defRPr sz="3199" spc="-70" baseline="0">
                <a:solidFill>
                  <a:schemeClr val="tx2"/>
                </a:solidFill>
                <a:latin typeface="+mj-lt"/>
              </a:defRPr>
            </a:lvl1pPr>
          </a:lstStyle>
          <a:p>
            <a:pPr lvl="0"/>
            <a:r>
              <a:rPr lang="en-US"/>
              <a:t>Speaker Title</a:t>
            </a:r>
          </a:p>
        </p:txBody>
      </p:sp>
      <p:pic>
        <p:nvPicPr>
          <p:cNvPr id="7" name="Picture 6"/>
          <p:cNvPicPr>
            <a:picLocks noChangeAspect="1"/>
          </p:cNvPicPr>
          <p:nvPr userDrawn="1"/>
        </p:nvPicPr>
        <p:blipFill>
          <a:blip r:embed="rId7"/>
          <a:stretch>
            <a:fillRect/>
          </a:stretch>
        </p:blipFill>
        <p:spPr>
          <a:xfrm>
            <a:off x="9282341" y="5214420"/>
            <a:ext cx="2401659" cy="566245"/>
          </a:xfrm>
          <a:prstGeom prst="rect">
            <a:avLst/>
          </a:prstGeom>
        </p:spPr>
      </p:pic>
    </p:spTree>
    <p:extLst>
      <p:ext uri="{BB962C8B-B14F-4D97-AF65-F5344CB8AC3E}">
        <p14:creationId xmlns:p14="http://schemas.microsoft.com/office/powerpoint/2010/main" val="4451855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4"/>
          <a:stretch>
            <a:fillRect/>
          </a:stretch>
        </p:blipFill>
        <p:spPr>
          <a:xfrm>
            <a:off x="0" y="0"/>
            <a:ext cx="12192000" cy="6858000"/>
          </a:xfrm>
          <a:prstGeom prst="rect">
            <a:avLst/>
          </a:prstGeom>
        </p:spPr>
      </p:pic>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38" name="think-cell Slide" r:id="rId5" imgW="377" imgH="377" progId="TCLayout.ActiveDocument.1">
                  <p:embed/>
                </p:oleObj>
              </mc:Choice>
              <mc:Fallback>
                <p:oleObj name="think-cell Slide" r:id="rId5" imgW="377" imgH="377"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4" name="Rectangle 13"/>
          <p:cNvSpPr/>
          <p:nvPr userDrawn="1"/>
        </p:nvSpPr>
        <p:spPr bwMode="auto">
          <a:xfrm>
            <a:off x="0" y="4455322"/>
            <a:ext cx="12192000" cy="2402678"/>
          </a:xfrm>
          <a:prstGeom prst="rect">
            <a:avLst/>
          </a:prstGeom>
          <a:solidFill>
            <a:schemeClr val="bg1"/>
          </a:solidFill>
          <a:ln>
            <a:noFill/>
            <a:headEnd type="none" w="med" len="med"/>
            <a:tailEnd type="none" w="med" len="med"/>
          </a:ln>
          <a:effectLst>
            <a:outerShdw blurRad="50800" dist="38100" dir="16200000"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GB" sz="22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26146" y="4739426"/>
            <a:ext cx="8459244" cy="923330"/>
          </a:xfrm>
          <a:noFill/>
        </p:spPr>
        <p:txBody>
          <a:bodyPr wrap="square" anchor="b" anchorCtr="0">
            <a:spAutoFit/>
          </a:bodyPr>
          <a:lstStyle>
            <a:lvl1pPr algn="l">
              <a:lnSpc>
                <a:spcPct val="100000"/>
              </a:lnSpc>
              <a:defRPr sz="6000" spc="-150" baseline="0">
                <a:solidFill>
                  <a:schemeClr val="accent2"/>
                </a:solidFill>
              </a:defRPr>
            </a:lvl1pPr>
          </a:lstStyle>
          <a:p>
            <a:r>
              <a:rPr lang="en-US"/>
              <a:t>Click to edit title style</a:t>
            </a:r>
          </a:p>
        </p:txBody>
      </p:sp>
      <p:sp>
        <p:nvSpPr>
          <p:cNvPr id="5" name="Text Placeholder 4"/>
          <p:cNvSpPr>
            <a:spLocks noGrp="1"/>
          </p:cNvSpPr>
          <p:nvPr>
            <p:ph type="body" sz="quarter" idx="12" hasCustomPrompt="1"/>
          </p:nvPr>
        </p:nvSpPr>
        <p:spPr>
          <a:xfrm>
            <a:off x="526146" y="5716958"/>
            <a:ext cx="8459244" cy="498598"/>
          </a:xfrm>
          <a:noFill/>
        </p:spPr>
        <p:txBody>
          <a:bodyPr>
            <a:noAutofit/>
          </a:bodyPr>
          <a:lstStyle>
            <a:lvl1pPr marL="0" indent="0" algn="l">
              <a:spcBef>
                <a:spcPts val="0"/>
              </a:spcBef>
              <a:buNone/>
              <a:defRPr sz="3200" spc="-70" baseline="0">
                <a:solidFill>
                  <a:schemeClr val="tx2"/>
                </a:solidFill>
                <a:latin typeface="+mj-lt"/>
              </a:defRPr>
            </a:lvl1pPr>
          </a:lstStyle>
          <a:p>
            <a:pPr lvl="0"/>
            <a:r>
              <a:rPr lang="en-US"/>
              <a:t>Speaker Title</a:t>
            </a:r>
          </a:p>
        </p:txBody>
      </p:sp>
      <p:pic>
        <p:nvPicPr>
          <p:cNvPr id="7" name="Picture 6"/>
          <p:cNvPicPr>
            <a:picLocks noChangeAspect="1"/>
          </p:cNvPicPr>
          <p:nvPr userDrawn="1"/>
        </p:nvPicPr>
        <p:blipFill>
          <a:blip r:embed="rId7"/>
          <a:stretch>
            <a:fillRect/>
          </a:stretch>
        </p:blipFill>
        <p:spPr>
          <a:xfrm>
            <a:off x="9282341" y="5214418"/>
            <a:ext cx="2401659" cy="566245"/>
          </a:xfrm>
          <a:prstGeom prst="rect">
            <a:avLst/>
          </a:prstGeom>
        </p:spPr>
      </p:pic>
    </p:spTree>
    <p:extLst>
      <p:ext uri="{BB962C8B-B14F-4D97-AF65-F5344CB8AC3E}">
        <p14:creationId xmlns:p14="http://schemas.microsoft.com/office/powerpoint/2010/main" val="16730895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mp;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62"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4"/>
          <p:cNvSpPr>
            <a:spLocks noGrp="1"/>
          </p:cNvSpPr>
          <p:nvPr>
            <p:ph type="body" sz="quarter" idx="10"/>
          </p:nvPr>
        </p:nvSpPr>
        <p:spPr>
          <a:xfrm>
            <a:off x="519248" y="1447799"/>
            <a:ext cx="11151917" cy="2154436"/>
          </a:xfrm>
          <a:prstGeom prst="rect">
            <a:avLst/>
          </a:prstGeom>
        </p:spPr>
        <p:txBody>
          <a:bodyPr/>
          <a:lstStyle>
            <a:lvl1pPr marL="0" indent="0">
              <a:spcBef>
                <a:spcPts val="2400"/>
              </a:spcBef>
              <a:buNone/>
              <a:defRPr sz="4000">
                <a:solidFill>
                  <a:schemeClr val="tx2"/>
                </a:solidFill>
                <a:latin typeface="+mj-lt"/>
              </a:defRPr>
            </a:lvl1pPr>
            <a:lvl2pPr marL="0" indent="0">
              <a:buNone/>
              <a:defRPr sz="2000">
                <a:solidFill>
                  <a:schemeClr val="tx2"/>
                </a:solidFill>
              </a:defRPr>
            </a:lvl2pPr>
            <a:lvl3pPr marL="231775" indent="0">
              <a:buNone/>
              <a:defRPr sz="2000">
                <a:solidFill>
                  <a:schemeClr val="tx2"/>
                </a:solidFill>
              </a:defRPr>
            </a:lvl3pPr>
            <a:lvl4pPr marL="457200" indent="0">
              <a:buNone/>
              <a:defRPr sz="2000">
                <a:solidFill>
                  <a:schemeClr val="tx2"/>
                </a:solidFill>
              </a:defRPr>
            </a:lvl4pPr>
            <a:lvl5pPr marL="693738" indent="0">
              <a:buNone/>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lvl1pPr>
              <a:defRPr>
                <a:solidFill>
                  <a:schemeClr val="accent2"/>
                </a:solidFill>
              </a:defRPr>
            </a:lvl1pPr>
          </a:lstStyle>
          <a:p>
            <a:r>
              <a:rPr lang="en-US"/>
              <a:t>Click to edit Master title style</a:t>
            </a:r>
          </a:p>
        </p:txBody>
      </p:sp>
      <p:sp>
        <p:nvSpPr>
          <p:cNvPr id="8" name="Footer Placeholder 5"/>
          <p:cNvSpPr>
            <a:spLocks noGrp="1"/>
          </p:cNvSpPr>
          <p:nvPr>
            <p:ph type="ftr" sz="quarter" idx="3"/>
          </p:nvPr>
        </p:nvSpPr>
        <p:spPr>
          <a:xfrm>
            <a:off x="4038600" y="6253029"/>
            <a:ext cx="4114800" cy="219455"/>
          </a:xfrm>
          <a:prstGeom prst="rect">
            <a:avLst/>
          </a:prstGeom>
        </p:spPr>
        <p:txBody>
          <a:bodyPr vert="horz" lIns="91440" tIns="45720" rIns="91440" bIns="45720" rtlCol="0" anchor="ctr"/>
          <a:lstStyle>
            <a:lvl1pPr algn="ctr">
              <a:defRPr sz="1000">
                <a:solidFill>
                  <a:schemeClr val="tx2"/>
                </a:solidFill>
              </a:defRPr>
            </a:lvl1pPr>
          </a:lstStyle>
          <a:p>
            <a:r>
              <a:rPr lang="en-US"/>
              <a:t>Confidential</a:t>
            </a:r>
          </a:p>
        </p:txBody>
      </p:sp>
      <p:sp>
        <p:nvSpPr>
          <p:cNvPr id="9" name="Slide Number Placeholder 9"/>
          <p:cNvSpPr>
            <a:spLocks noGrp="1"/>
          </p:cNvSpPr>
          <p:nvPr>
            <p:ph type="sldNum" sz="quarter" idx="4"/>
          </p:nvPr>
        </p:nvSpPr>
        <p:spPr>
          <a:xfrm>
            <a:off x="1023938" y="6253028"/>
            <a:ext cx="560832" cy="219456"/>
          </a:xfrm>
          <a:prstGeom prst="rect">
            <a:avLst/>
          </a:prstGeom>
        </p:spPr>
        <p:txBody>
          <a:bodyPr lIns="0" tIns="60949" rIns="0" bIns="60949" anchor="ctr"/>
          <a:lstStyle>
            <a:lvl1pPr algn="l">
              <a:defRPr sz="1000">
                <a:solidFill>
                  <a:schemeClr val="tx2"/>
                </a:solidFill>
              </a:defRPr>
            </a:lvl1pPr>
          </a:lstStyle>
          <a:p>
            <a:pPr defTabSz="914363"/>
            <a:fld id="{727B4C2D-45E2-4621-8491-2995EB46A674}" type="slidenum">
              <a:rPr lang="en-US" smtClean="0"/>
              <a:pPr defTabSz="914363"/>
              <a:t>‹#›</a:t>
            </a:fld>
            <a:endParaRPr lang="en-US"/>
          </a:p>
        </p:txBody>
      </p:sp>
    </p:spTree>
    <p:extLst>
      <p:ext uri="{BB962C8B-B14F-4D97-AF65-F5344CB8AC3E}">
        <p14:creationId xmlns:p14="http://schemas.microsoft.com/office/powerpoint/2010/main" val="285065276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86"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a:xfrm>
            <a:off x="508000" y="299804"/>
            <a:ext cx="11176000" cy="932563"/>
          </a:xfrm>
        </p:spPr>
        <p:txBody>
          <a:bodyPr/>
          <a:lstStyle>
            <a:lvl1pPr>
              <a:defRPr sz="4800">
                <a:solidFill>
                  <a:schemeClr val="accent2"/>
                </a:solidFill>
              </a:defRPr>
            </a:lvl1pPr>
          </a:lstStyle>
          <a:p>
            <a:r>
              <a:rPr lang="en-US"/>
              <a:t>Click to edit Master title style</a:t>
            </a:r>
            <a:endParaRPr lang="en-IN"/>
          </a:p>
        </p:txBody>
      </p:sp>
      <p:sp>
        <p:nvSpPr>
          <p:cNvPr id="6" name="Footer Placeholder 5"/>
          <p:cNvSpPr>
            <a:spLocks noGrp="1"/>
          </p:cNvSpPr>
          <p:nvPr>
            <p:ph type="ftr" sz="quarter" idx="3"/>
          </p:nvPr>
        </p:nvSpPr>
        <p:spPr>
          <a:xfrm>
            <a:off x="4038600" y="6253029"/>
            <a:ext cx="4114800" cy="219455"/>
          </a:xfrm>
          <a:prstGeom prst="rect">
            <a:avLst/>
          </a:prstGeom>
        </p:spPr>
        <p:txBody>
          <a:bodyPr vert="horz" lIns="91440" tIns="45720" rIns="91440" bIns="45720" rtlCol="0" anchor="ctr"/>
          <a:lstStyle>
            <a:lvl1pPr algn="ctr">
              <a:defRPr sz="1000">
                <a:solidFill>
                  <a:schemeClr val="tx2"/>
                </a:solidFill>
              </a:defRPr>
            </a:lvl1pPr>
          </a:lstStyle>
          <a:p>
            <a:r>
              <a:rPr lang="en-US"/>
              <a:t>Confidential</a:t>
            </a:r>
          </a:p>
        </p:txBody>
      </p:sp>
      <p:sp>
        <p:nvSpPr>
          <p:cNvPr id="7" name="Slide Number Placeholder 9"/>
          <p:cNvSpPr>
            <a:spLocks noGrp="1"/>
          </p:cNvSpPr>
          <p:nvPr>
            <p:ph type="sldNum" sz="quarter" idx="4"/>
          </p:nvPr>
        </p:nvSpPr>
        <p:spPr>
          <a:xfrm>
            <a:off x="1023938" y="6253028"/>
            <a:ext cx="560832" cy="219456"/>
          </a:xfrm>
          <a:prstGeom prst="rect">
            <a:avLst/>
          </a:prstGeom>
        </p:spPr>
        <p:txBody>
          <a:bodyPr lIns="0" tIns="60949" rIns="0" bIns="60949" anchor="ctr"/>
          <a:lstStyle>
            <a:lvl1pPr algn="l">
              <a:defRPr sz="1000">
                <a:solidFill>
                  <a:schemeClr val="tx2"/>
                </a:solidFill>
              </a:defRPr>
            </a:lvl1pPr>
          </a:lstStyle>
          <a:p>
            <a:pPr defTabSz="914363"/>
            <a:fld id="{727B4C2D-45E2-4621-8491-2995EB46A674}" type="slidenum">
              <a:rPr lang="en-US" smtClean="0"/>
              <a:pPr defTabSz="914363"/>
              <a:t>‹#›</a:t>
            </a:fld>
            <a:endParaRPr lang="en-US"/>
          </a:p>
        </p:txBody>
      </p:sp>
      <p:sp>
        <p:nvSpPr>
          <p:cNvPr id="8" name="Freeform: Shape 7"/>
          <p:cNvSpPr/>
          <p:nvPr userDrawn="1"/>
        </p:nvSpPr>
        <p:spPr>
          <a:xfrm>
            <a:off x="0" y="6515100"/>
            <a:ext cx="12192000" cy="342900"/>
          </a:xfrm>
          <a:custGeom>
            <a:avLst/>
            <a:gdLst>
              <a:gd name="connsiteX0" fmla="*/ 12192000 w 12192000"/>
              <a:gd name="connsiteY0" fmla="*/ 0 h 342900"/>
              <a:gd name="connsiteX1" fmla="*/ 12192000 w 12192000"/>
              <a:gd name="connsiteY1" fmla="*/ 342900 h 342900"/>
              <a:gd name="connsiteX2" fmla="*/ 0 w 12192000"/>
              <a:gd name="connsiteY2" fmla="*/ 342900 h 342900"/>
              <a:gd name="connsiteX3" fmla="*/ 0 w 12192000"/>
              <a:gd name="connsiteY3" fmla="*/ 260092 h 342900"/>
            </a:gdLst>
            <a:ahLst/>
            <a:cxnLst>
              <a:cxn ang="0">
                <a:pos x="connsiteX0" y="connsiteY0"/>
              </a:cxn>
              <a:cxn ang="0">
                <a:pos x="connsiteX1" y="connsiteY1"/>
              </a:cxn>
              <a:cxn ang="0">
                <a:pos x="connsiteX2" y="connsiteY2"/>
              </a:cxn>
              <a:cxn ang="0">
                <a:pos x="connsiteX3" y="connsiteY3"/>
              </a:cxn>
            </a:cxnLst>
            <a:rect l="l" t="t" r="r" b="b"/>
            <a:pathLst>
              <a:path w="12192000" h="342900">
                <a:moveTo>
                  <a:pt x="12192000" y="0"/>
                </a:moveTo>
                <a:lnTo>
                  <a:pt x="12192000" y="342900"/>
                </a:lnTo>
                <a:lnTo>
                  <a:pt x="0" y="342900"/>
                </a:lnTo>
                <a:lnTo>
                  <a:pt x="0" y="260092"/>
                </a:lnTo>
                <a:close/>
              </a:path>
            </a:pathLst>
          </a:custGeom>
          <a:solidFill>
            <a:schemeClr val="accent1"/>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US" sz="800">
                <a:solidFill>
                  <a:schemeClr val="bg1">
                    <a:lumMod val="75000"/>
                  </a:schemeClr>
                </a:solidFill>
              </a:rPr>
              <a:t>©Valorem</a:t>
            </a:r>
          </a:p>
        </p:txBody>
      </p:sp>
      <p:pic>
        <p:nvPicPr>
          <p:cNvPr id="9" name="Picture 8"/>
          <p:cNvPicPr>
            <a:picLocks noChangeAspect="1"/>
          </p:cNvPicPr>
          <p:nvPr userDrawn="1"/>
        </p:nvPicPr>
        <p:blipFill>
          <a:blip r:embed="rId6"/>
          <a:stretch>
            <a:fillRect/>
          </a:stretch>
        </p:blipFill>
        <p:spPr>
          <a:xfrm>
            <a:off x="508000" y="6162485"/>
            <a:ext cx="400543" cy="400543"/>
          </a:xfrm>
          <a:prstGeom prst="rect">
            <a:avLst/>
          </a:prstGeom>
        </p:spPr>
      </p:pic>
    </p:spTree>
    <p:extLst>
      <p:ext uri="{BB962C8B-B14F-4D97-AF65-F5344CB8AC3E}">
        <p14:creationId xmlns:p14="http://schemas.microsoft.com/office/powerpoint/2010/main" val="2611555908"/>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10"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Footer Placeholder 5"/>
          <p:cNvSpPr>
            <a:spLocks noGrp="1"/>
          </p:cNvSpPr>
          <p:nvPr>
            <p:ph type="ftr" sz="quarter" idx="3"/>
          </p:nvPr>
        </p:nvSpPr>
        <p:spPr>
          <a:xfrm>
            <a:off x="4038600" y="6253029"/>
            <a:ext cx="4114800" cy="219455"/>
          </a:xfrm>
          <a:prstGeom prst="rect">
            <a:avLst/>
          </a:prstGeom>
        </p:spPr>
        <p:txBody>
          <a:bodyPr vert="horz" lIns="91440" tIns="45720" rIns="91440" bIns="45720" rtlCol="0" anchor="ctr"/>
          <a:lstStyle>
            <a:lvl1pPr algn="ctr">
              <a:defRPr sz="1000">
                <a:solidFill>
                  <a:schemeClr val="tx2"/>
                </a:solidFill>
              </a:defRPr>
            </a:lvl1pPr>
          </a:lstStyle>
          <a:p>
            <a:r>
              <a:rPr lang="en-US"/>
              <a:t>Confidential</a:t>
            </a:r>
          </a:p>
        </p:txBody>
      </p:sp>
      <p:sp>
        <p:nvSpPr>
          <p:cNvPr id="6" name="Slide Number Placeholder 9"/>
          <p:cNvSpPr>
            <a:spLocks noGrp="1"/>
          </p:cNvSpPr>
          <p:nvPr>
            <p:ph type="sldNum" sz="quarter" idx="4"/>
          </p:nvPr>
        </p:nvSpPr>
        <p:spPr>
          <a:xfrm>
            <a:off x="1023938" y="6253028"/>
            <a:ext cx="560832" cy="219456"/>
          </a:xfrm>
          <a:prstGeom prst="rect">
            <a:avLst/>
          </a:prstGeom>
        </p:spPr>
        <p:txBody>
          <a:bodyPr lIns="0" tIns="60949" rIns="0" bIns="60949" anchor="ctr"/>
          <a:lstStyle>
            <a:lvl1pPr algn="l">
              <a:defRPr sz="1000">
                <a:solidFill>
                  <a:schemeClr val="tx2"/>
                </a:solidFill>
              </a:defRPr>
            </a:lvl1pPr>
          </a:lstStyle>
          <a:p>
            <a:pPr defTabSz="914363"/>
            <a:fld id="{727B4C2D-45E2-4621-8491-2995EB46A674}" type="slidenum">
              <a:rPr lang="en-US" smtClean="0"/>
              <a:pPr defTabSz="914363"/>
              <a:t>‹#›</a:t>
            </a:fld>
            <a:endParaRPr lang="en-US"/>
          </a:p>
        </p:txBody>
      </p:sp>
    </p:spTree>
    <p:extLst>
      <p:ext uri="{BB962C8B-B14F-4D97-AF65-F5344CB8AC3E}">
        <p14:creationId xmlns:p14="http://schemas.microsoft.com/office/powerpoint/2010/main" val="1948870736"/>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34"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22514" y="2344577"/>
            <a:ext cx="11161486" cy="1218795"/>
          </a:xfrm>
        </p:spPr>
        <p:txBody>
          <a:bodyPr anchor="b" anchorCtr="0"/>
          <a:lstStyle>
            <a:lvl1pPr>
              <a:defRPr sz="6600" spc="-100" baseline="0">
                <a:solidFill>
                  <a:schemeClr val="accent2"/>
                </a:solidFill>
                <a:latin typeface="Segoe UI Semibold" panose="020B0702040204020203" pitchFamily="34" charset="0"/>
                <a:cs typeface="Segoe UI Semibold" panose="020B0702040204020203" pitchFamily="34" charset="0"/>
              </a:defRPr>
            </a:lvl1pPr>
          </a:lstStyle>
          <a:p>
            <a:r>
              <a:rPr lang="en-US"/>
              <a:t>Click to edit title style</a:t>
            </a:r>
          </a:p>
        </p:txBody>
      </p:sp>
      <p:sp>
        <p:nvSpPr>
          <p:cNvPr id="3" name="Text Placeholder 4"/>
          <p:cNvSpPr>
            <a:spLocks noGrp="1"/>
          </p:cNvSpPr>
          <p:nvPr>
            <p:ph type="body" sz="quarter" idx="12" hasCustomPrompt="1"/>
          </p:nvPr>
        </p:nvSpPr>
        <p:spPr>
          <a:xfrm>
            <a:off x="522514" y="3606915"/>
            <a:ext cx="11161486" cy="498598"/>
          </a:xfrm>
          <a:noFill/>
        </p:spPr>
        <p:txBody>
          <a:bodyPr>
            <a:noAutofit/>
          </a:bodyPr>
          <a:lstStyle>
            <a:lvl1pPr marL="0" indent="0" algn="l">
              <a:spcBef>
                <a:spcPts val="0"/>
              </a:spcBef>
              <a:buNone/>
              <a:defRPr sz="2200" spc="0" baseline="0">
                <a:solidFill>
                  <a:schemeClr val="tx2"/>
                </a:solidFill>
                <a:latin typeface="Segoe UI Semibold" panose="020B0702040204020203" pitchFamily="34" charset="0"/>
                <a:cs typeface="Segoe UI Semibold" panose="020B0702040204020203" pitchFamily="34" charset="0"/>
              </a:defRPr>
            </a:lvl1pPr>
          </a:lstStyle>
          <a:p>
            <a:pPr lvl="0"/>
            <a:r>
              <a:rPr lang="en-IN"/>
              <a:t>Click to edit title style</a:t>
            </a:r>
            <a:endParaRPr lang="en-US"/>
          </a:p>
        </p:txBody>
      </p:sp>
      <p:sp>
        <p:nvSpPr>
          <p:cNvPr id="14" name="Freeform: Shape 13"/>
          <p:cNvSpPr/>
          <p:nvPr userDrawn="1"/>
        </p:nvSpPr>
        <p:spPr>
          <a:xfrm>
            <a:off x="0" y="5943600"/>
            <a:ext cx="12192000" cy="914400"/>
          </a:xfrm>
          <a:custGeom>
            <a:avLst/>
            <a:gdLst>
              <a:gd name="connsiteX0" fmla="*/ 12192000 w 12192000"/>
              <a:gd name="connsiteY0" fmla="*/ 0 h 914400"/>
              <a:gd name="connsiteX1" fmla="*/ 12192000 w 12192000"/>
              <a:gd name="connsiteY1" fmla="*/ 914400 h 914400"/>
              <a:gd name="connsiteX2" fmla="*/ 0 w 12192000"/>
              <a:gd name="connsiteY2" fmla="*/ 914400 h 914400"/>
              <a:gd name="connsiteX3" fmla="*/ 0 w 12192000"/>
              <a:gd name="connsiteY3" fmla="*/ 813554 h 914400"/>
            </a:gdLst>
            <a:ahLst/>
            <a:cxnLst>
              <a:cxn ang="0">
                <a:pos x="connsiteX0" y="connsiteY0"/>
              </a:cxn>
              <a:cxn ang="0">
                <a:pos x="connsiteX1" y="connsiteY1"/>
              </a:cxn>
              <a:cxn ang="0">
                <a:pos x="connsiteX2" y="connsiteY2"/>
              </a:cxn>
              <a:cxn ang="0">
                <a:pos x="connsiteX3" y="connsiteY3"/>
              </a:cxn>
            </a:cxnLst>
            <a:rect l="l" t="t" r="r" b="b"/>
            <a:pathLst>
              <a:path w="12192000" h="914400">
                <a:moveTo>
                  <a:pt x="12192000" y="0"/>
                </a:moveTo>
                <a:lnTo>
                  <a:pt x="12192000" y="914400"/>
                </a:lnTo>
                <a:lnTo>
                  <a:pt x="0" y="914400"/>
                </a:lnTo>
                <a:lnTo>
                  <a:pt x="0" y="813554"/>
                </a:lnTo>
                <a:close/>
              </a:path>
            </a:pathLst>
          </a:custGeom>
          <a:solidFill>
            <a:srgbClr val="0044A5"/>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9" name="Freeform: Shape 18"/>
          <p:cNvSpPr/>
          <p:nvPr userDrawn="1"/>
        </p:nvSpPr>
        <p:spPr>
          <a:xfrm>
            <a:off x="6638480" y="5943600"/>
            <a:ext cx="5553520" cy="898700"/>
          </a:xfrm>
          <a:custGeom>
            <a:avLst/>
            <a:gdLst>
              <a:gd name="connsiteX0" fmla="*/ 5553520 w 5553520"/>
              <a:gd name="connsiteY0" fmla="*/ 0 h 898700"/>
              <a:gd name="connsiteX1" fmla="*/ 5553520 w 5553520"/>
              <a:gd name="connsiteY1" fmla="*/ 898700 h 898700"/>
              <a:gd name="connsiteX2" fmla="*/ 0 w 5553520"/>
              <a:gd name="connsiteY2" fmla="*/ 370578 h 898700"/>
            </a:gdLst>
            <a:ahLst/>
            <a:cxnLst>
              <a:cxn ang="0">
                <a:pos x="connsiteX0" y="connsiteY0"/>
              </a:cxn>
              <a:cxn ang="0">
                <a:pos x="connsiteX1" y="connsiteY1"/>
              </a:cxn>
              <a:cxn ang="0">
                <a:pos x="connsiteX2" y="connsiteY2"/>
              </a:cxn>
            </a:cxnLst>
            <a:rect l="l" t="t" r="r" b="b"/>
            <a:pathLst>
              <a:path w="5553520" h="898700">
                <a:moveTo>
                  <a:pt x="5553520" y="0"/>
                </a:moveTo>
                <a:lnTo>
                  <a:pt x="5553520" y="898700"/>
                </a:lnTo>
                <a:lnTo>
                  <a:pt x="0" y="370578"/>
                </a:lnTo>
                <a:close/>
              </a:path>
            </a:pathLst>
          </a:custGeom>
          <a:solidFill>
            <a:srgbClr val="0056B7"/>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22" name="Picture 21"/>
          <p:cNvPicPr>
            <a:picLocks noChangeAspect="1"/>
          </p:cNvPicPr>
          <p:nvPr userDrawn="1"/>
        </p:nvPicPr>
        <p:blipFill>
          <a:blip r:embed="rId6"/>
          <a:srcRect r="13515"/>
          <a:stretch>
            <a:fillRect/>
          </a:stretch>
        </p:blipFill>
        <p:spPr>
          <a:xfrm>
            <a:off x="9982200" y="2078010"/>
            <a:ext cx="2216357" cy="2562717"/>
          </a:xfrm>
          <a:custGeom>
            <a:avLst/>
            <a:gdLst>
              <a:gd name="connsiteX0" fmla="*/ 0 w 1866486"/>
              <a:gd name="connsiteY0" fmla="*/ 0 h 2158171"/>
              <a:gd name="connsiteX1" fmla="*/ 1866486 w 1866486"/>
              <a:gd name="connsiteY1" fmla="*/ 0 h 2158171"/>
              <a:gd name="connsiteX2" fmla="*/ 1866486 w 1866486"/>
              <a:gd name="connsiteY2" fmla="*/ 2158171 h 2158171"/>
              <a:gd name="connsiteX3" fmla="*/ 0 w 1866486"/>
              <a:gd name="connsiteY3" fmla="*/ 2158171 h 2158171"/>
            </a:gdLst>
            <a:ahLst/>
            <a:cxnLst>
              <a:cxn ang="0">
                <a:pos x="connsiteX0" y="connsiteY0"/>
              </a:cxn>
              <a:cxn ang="0">
                <a:pos x="connsiteX1" y="connsiteY1"/>
              </a:cxn>
              <a:cxn ang="0">
                <a:pos x="connsiteX2" y="connsiteY2"/>
              </a:cxn>
              <a:cxn ang="0">
                <a:pos x="connsiteX3" y="connsiteY3"/>
              </a:cxn>
            </a:cxnLst>
            <a:rect l="l" t="t" r="r" b="b"/>
            <a:pathLst>
              <a:path w="1866486" h="2158171">
                <a:moveTo>
                  <a:pt x="0" y="0"/>
                </a:moveTo>
                <a:lnTo>
                  <a:pt x="1866486" y="0"/>
                </a:lnTo>
                <a:lnTo>
                  <a:pt x="1866486" y="2158171"/>
                </a:lnTo>
                <a:lnTo>
                  <a:pt x="0" y="2158171"/>
                </a:lnTo>
                <a:close/>
              </a:path>
            </a:pathLst>
          </a:custGeom>
        </p:spPr>
      </p:pic>
    </p:spTree>
    <p:extLst>
      <p:ext uri="{BB962C8B-B14F-4D97-AF65-F5344CB8AC3E}">
        <p14:creationId xmlns:p14="http://schemas.microsoft.com/office/powerpoint/2010/main" val="2546096607"/>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hank You Slide">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58"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522514" y="2598577"/>
            <a:ext cx="11161486" cy="1218795"/>
          </a:xfrm>
        </p:spPr>
        <p:txBody>
          <a:bodyPr anchor="b" anchorCtr="0"/>
          <a:lstStyle>
            <a:lvl1pPr>
              <a:defRPr sz="6600" spc="-100" baseline="0">
                <a:solidFill>
                  <a:schemeClr val="accent2"/>
                </a:solidFill>
                <a:latin typeface="Segoe UI Semibold" panose="020B0702040204020203" pitchFamily="34" charset="0"/>
                <a:cs typeface="Segoe UI Semibold" panose="020B0702040204020203" pitchFamily="34" charset="0"/>
              </a:defRPr>
            </a:lvl1pPr>
          </a:lstStyle>
          <a:p>
            <a:endParaRPr lang="en-US"/>
          </a:p>
        </p:txBody>
      </p:sp>
      <p:sp>
        <p:nvSpPr>
          <p:cNvPr id="3" name="Text Placeholder 4"/>
          <p:cNvSpPr>
            <a:spLocks noGrp="1"/>
          </p:cNvSpPr>
          <p:nvPr>
            <p:ph type="body" sz="quarter" idx="12" hasCustomPrompt="1"/>
          </p:nvPr>
        </p:nvSpPr>
        <p:spPr>
          <a:xfrm>
            <a:off x="522514" y="3935092"/>
            <a:ext cx="11161486" cy="498598"/>
          </a:xfrm>
          <a:noFill/>
        </p:spPr>
        <p:txBody>
          <a:bodyPr>
            <a:noAutofit/>
          </a:bodyPr>
          <a:lstStyle>
            <a:lvl1pPr marL="0" indent="0" algn="l">
              <a:spcBef>
                <a:spcPts val="0"/>
              </a:spcBef>
              <a:buNone/>
              <a:defRPr sz="2200" spc="0" baseline="0">
                <a:solidFill>
                  <a:schemeClr val="tx2"/>
                </a:solidFill>
                <a:latin typeface="Segoe UI Semibold" panose="020B0702040204020203" pitchFamily="34" charset="0"/>
                <a:cs typeface="Segoe UI Semibold" panose="020B0702040204020203" pitchFamily="34" charset="0"/>
              </a:defRPr>
            </a:lvl1pPr>
          </a:lstStyle>
          <a:p>
            <a:pPr lvl="0"/>
            <a:r>
              <a:rPr lang="en-IN"/>
              <a:t>Click to edit title style</a:t>
            </a:r>
            <a:endParaRPr lang="en-US"/>
          </a:p>
        </p:txBody>
      </p:sp>
      <p:pic>
        <p:nvPicPr>
          <p:cNvPr id="11" name="Picture 10"/>
          <p:cNvPicPr>
            <a:picLocks noChangeAspect="1"/>
          </p:cNvPicPr>
          <p:nvPr userDrawn="1"/>
        </p:nvPicPr>
        <p:blipFill>
          <a:blip r:embed="rId6"/>
          <a:srcRect/>
          <a:stretch>
            <a:fillRect/>
          </a:stretch>
        </p:blipFill>
        <p:spPr>
          <a:xfrm>
            <a:off x="-368300" y="-470115"/>
            <a:ext cx="2862072" cy="2862072"/>
          </a:xfrm>
          <a:custGeom>
            <a:avLst/>
            <a:gdLst>
              <a:gd name="connsiteX0" fmla="*/ 304800 w 2362200"/>
              <a:gd name="connsiteY0" fmla="*/ 389343 h 2362200"/>
              <a:gd name="connsiteX1" fmla="*/ 2362200 w 2362200"/>
              <a:gd name="connsiteY1" fmla="*/ 389343 h 2362200"/>
              <a:gd name="connsiteX2" fmla="*/ 2362200 w 2362200"/>
              <a:gd name="connsiteY2" fmla="*/ 2362200 h 2362200"/>
              <a:gd name="connsiteX3" fmla="*/ 304800 w 2362200"/>
              <a:gd name="connsiteY3" fmla="*/ 2362200 h 2362200"/>
              <a:gd name="connsiteX4" fmla="*/ 0 w 2362200"/>
              <a:gd name="connsiteY4" fmla="*/ 0 h 2362200"/>
              <a:gd name="connsiteX5" fmla="*/ 304800 w 2362200"/>
              <a:gd name="connsiteY5" fmla="*/ 0 h 2362200"/>
              <a:gd name="connsiteX6" fmla="*/ 304800 w 2362200"/>
              <a:gd name="connsiteY6" fmla="*/ 389343 h 2362200"/>
              <a:gd name="connsiteX7" fmla="*/ 0 w 2362200"/>
              <a:gd name="connsiteY7" fmla="*/ 389343 h 2362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62200" h="2362200">
                <a:moveTo>
                  <a:pt x="304800" y="389343"/>
                </a:moveTo>
                <a:lnTo>
                  <a:pt x="2362200" y="389343"/>
                </a:lnTo>
                <a:lnTo>
                  <a:pt x="2362200" y="2362200"/>
                </a:lnTo>
                <a:lnTo>
                  <a:pt x="304800" y="2362200"/>
                </a:lnTo>
                <a:close/>
                <a:moveTo>
                  <a:pt x="0" y="0"/>
                </a:moveTo>
                <a:lnTo>
                  <a:pt x="304800" y="0"/>
                </a:lnTo>
                <a:lnTo>
                  <a:pt x="304800" y="389343"/>
                </a:lnTo>
                <a:lnTo>
                  <a:pt x="0" y="389343"/>
                </a:lnTo>
                <a:close/>
              </a:path>
            </a:pathLst>
          </a:custGeom>
        </p:spPr>
      </p:pic>
      <p:pic>
        <p:nvPicPr>
          <p:cNvPr id="12" name="Picture 11"/>
          <p:cNvPicPr>
            <a:picLocks noChangeAspect="1"/>
          </p:cNvPicPr>
          <p:nvPr userDrawn="1"/>
        </p:nvPicPr>
        <p:blipFill>
          <a:blip r:embed="rId7"/>
          <a:stretch>
            <a:fillRect/>
          </a:stretch>
        </p:blipFill>
        <p:spPr>
          <a:xfrm>
            <a:off x="10019409" y="6273800"/>
            <a:ext cx="1664591" cy="394764"/>
          </a:xfrm>
          <a:prstGeom prst="rect">
            <a:avLst/>
          </a:prstGeom>
        </p:spPr>
      </p:pic>
    </p:spTree>
    <p:extLst>
      <p:ext uri="{BB962C8B-B14F-4D97-AF65-F5344CB8AC3E}">
        <p14:creationId xmlns:p14="http://schemas.microsoft.com/office/powerpoint/2010/main" val="508223438"/>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Thank You Slide">
    <p:bg>
      <p:bgPr>
        <a:solidFill>
          <a:schemeClr val="accent1"/>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a:xfrm>
            <a:off x="-368300" y="-465543"/>
            <a:ext cx="2857500" cy="2857500"/>
          </a:xfrm>
          <a:custGeom>
            <a:avLst/>
            <a:gdLst>
              <a:gd name="connsiteX0" fmla="*/ 304800 w 2359152"/>
              <a:gd name="connsiteY0" fmla="*/ 389343 h 2359152"/>
              <a:gd name="connsiteX1" fmla="*/ 2359152 w 2359152"/>
              <a:gd name="connsiteY1" fmla="*/ 389343 h 2359152"/>
              <a:gd name="connsiteX2" fmla="*/ 2359152 w 2359152"/>
              <a:gd name="connsiteY2" fmla="*/ 2359152 h 2359152"/>
              <a:gd name="connsiteX3" fmla="*/ 304800 w 2359152"/>
              <a:gd name="connsiteY3" fmla="*/ 2359152 h 2359152"/>
              <a:gd name="connsiteX4" fmla="*/ 0 w 2359152"/>
              <a:gd name="connsiteY4" fmla="*/ 0 h 2359152"/>
              <a:gd name="connsiteX5" fmla="*/ 304800 w 2359152"/>
              <a:gd name="connsiteY5" fmla="*/ 0 h 2359152"/>
              <a:gd name="connsiteX6" fmla="*/ 304800 w 2359152"/>
              <a:gd name="connsiteY6" fmla="*/ 389343 h 2359152"/>
              <a:gd name="connsiteX7" fmla="*/ 0 w 2359152"/>
              <a:gd name="connsiteY7" fmla="*/ 389343 h 2359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59152" h="2359152">
                <a:moveTo>
                  <a:pt x="304800" y="389343"/>
                </a:moveTo>
                <a:lnTo>
                  <a:pt x="2359152" y="389343"/>
                </a:lnTo>
                <a:lnTo>
                  <a:pt x="2359152" y="2359152"/>
                </a:lnTo>
                <a:lnTo>
                  <a:pt x="304800" y="2359152"/>
                </a:lnTo>
                <a:close/>
                <a:moveTo>
                  <a:pt x="0" y="0"/>
                </a:moveTo>
                <a:lnTo>
                  <a:pt x="304800" y="0"/>
                </a:lnTo>
                <a:lnTo>
                  <a:pt x="304800" y="389343"/>
                </a:lnTo>
                <a:lnTo>
                  <a:pt x="0" y="389343"/>
                </a:lnTo>
                <a:close/>
              </a:path>
            </a:pathLst>
          </a:custGeom>
        </p:spPr>
      </p:pic>
      <p:pic>
        <p:nvPicPr>
          <p:cNvPr id="7" name="Picture 6"/>
          <p:cNvPicPr>
            <a:picLocks noChangeAspect="1"/>
          </p:cNvPicPr>
          <p:nvPr userDrawn="1"/>
        </p:nvPicPr>
        <p:blipFill>
          <a:blip r:embed="rId5"/>
          <a:stretch>
            <a:fillRect/>
          </a:stretch>
        </p:blipFill>
        <p:spPr>
          <a:xfrm>
            <a:off x="10033303" y="6275372"/>
            <a:ext cx="1650697" cy="393192"/>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82" name="think-cell Slide" r:id="rId6" imgW="377" imgH="377" progId="TCLayout.ActiveDocument.1">
                  <p:embed/>
                </p:oleObj>
              </mc:Choice>
              <mc:Fallback>
                <p:oleObj name="think-cell Slide" r:id="rId6" imgW="377" imgH="377" progId="TCLayout.ActiveDocument.1">
                  <p:embed/>
                  <p:pic>
                    <p:nvPicPr>
                      <p:cNvPr id="4" name="Object 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522514" y="2598577"/>
            <a:ext cx="11161486" cy="1218795"/>
          </a:xfrm>
        </p:spPr>
        <p:txBody>
          <a:bodyPr anchor="b" anchorCtr="0"/>
          <a:lstStyle>
            <a:lvl1pPr>
              <a:defRPr sz="6600" spc="-100" baseline="0">
                <a:solidFill>
                  <a:schemeClr val="bg2"/>
                </a:solidFill>
                <a:latin typeface="Segoe UI Semibold" panose="020B0702040204020203" pitchFamily="34" charset="0"/>
                <a:cs typeface="Segoe UI Semibold" panose="020B0702040204020203" pitchFamily="34" charset="0"/>
              </a:defRPr>
            </a:lvl1pPr>
          </a:lstStyle>
          <a:p>
            <a:endParaRPr lang="en-US"/>
          </a:p>
        </p:txBody>
      </p:sp>
      <p:sp>
        <p:nvSpPr>
          <p:cNvPr id="3" name="Text Placeholder 4"/>
          <p:cNvSpPr>
            <a:spLocks noGrp="1"/>
          </p:cNvSpPr>
          <p:nvPr>
            <p:ph type="body" sz="quarter" idx="12" hasCustomPrompt="1"/>
          </p:nvPr>
        </p:nvSpPr>
        <p:spPr>
          <a:xfrm>
            <a:off x="522514" y="3935092"/>
            <a:ext cx="11161486" cy="498598"/>
          </a:xfrm>
          <a:noFill/>
        </p:spPr>
        <p:txBody>
          <a:bodyPr>
            <a:noAutofit/>
          </a:bodyPr>
          <a:lstStyle>
            <a:lvl1pPr marL="0" indent="0" algn="l">
              <a:spcBef>
                <a:spcPts val="0"/>
              </a:spcBef>
              <a:buNone/>
              <a:defRPr sz="2200" spc="0" baseline="0">
                <a:solidFill>
                  <a:schemeClr val="bg2"/>
                </a:solidFill>
                <a:latin typeface="Segoe UI Semibold" panose="020B0702040204020203" pitchFamily="34" charset="0"/>
                <a:cs typeface="Segoe UI Semibold" panose="020B0702040204020203" pitchFamily="34" charset="0"/>
              </a:defRPr>
            </a:lvl1pPr>
          </a:lstStyle>
          <a:p>
            <a:pPr lvl="0"/>
            <a:r>
              <a:rPr lang="en-IN"/>
              <a:t>Click to edit title style</a:t>
            </a:r>
            <a:endParaRPr lang="en-US"/>
          </a:p>
        </p:txBody>
      </p:sp>
    </p:spTree>
    <p:extLst>
      <p:ext uri="{BB962C8B-B14F-4D97-AF65-F5344CB8AC3E}">
        <p14:creationId xmlns:p14="http://schemas.microsoft.com/office/powerpoint/2010/main" val="32206692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theme" Target="../theme/theme2.xml"/><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slideLayout" Target="../slideLayouts/slideLayout22.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6" name="think-cell Slide" r:id="rId14" imgW="377" imgH="377" progId="TCLayout.ActiveDocument.1">
                  <p:embed/>
                </p:oleObj>
              </mc:Choice>
              <mc:Fallback>
                <p:oleObj name="think-cell Slide" r:id="rId14" imgW="377" imgH="377" progId="TCLayout.ActiveDocument.1">
                  <p:embed/>
                  <p:pic>
                    <p:nvPicPr>
                      <p:cNvPr id="3" name="Object 2" hidden="1"/>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4" name="Text Placeholder 3"/>
          <p:cNvSpPr>
            <a:spLocks noGrp="1"/>
          </p:cNvSpPr>
          <p:nvPr userDrawn="1">
            <p:ph type="body" idx="1"/>
          </p:nvPr>
        </p:nvSpPr>
        <p:spPr>
          <a:xfrm>
            <a:off x="508000" y="1447801"/>
            <a:ext cx="11176000" cy="2215991"/>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p:cNvSpPr>
            <a:spLocks noGrp="1"/>
          </p:cNvSpPr>
          <p:nvPr userDrawn="1">
            <p:ph type="title"/>
          </p:nvPr>
        </p:nvSpPr>
        <p:spPr>
          <a:xfrm>
            <a:off x="508000" y="299804"/>
            <a:ext cx="11176000" cy="932563"/>
          </a:xfrm>
          <a:prstGeom prst="rect">
            <a:avLst/>
          </a:prstGeom>
          <a:noFill/>
        </p:spPr>
        <p:txBody>
          <a:bodyPr vert="horz" wrap="square" lIns="0" tIns="0" rIns="0" bIns="0" rtlCol="0" anchor="ctr">
            <a:noAutofit/>
          </a:bodyPr>
          <a:lstStyle/>
          <a:p>
            <a:r>
              <a:rPr lang="en-US"/>
              <a:t>Click to edit Master title style</a:t>
            </a:r>
          </a:p>
        </p:txBody>
      </p:sp>
      <p:sp>
        <p:nvSpPr>
          <p:cNvPr id="20" name="Slide Number Placeholder 9"/>
          <p:cNvSpPr>
            <a:spLocks noGrp="1"/>
          </p:cNvSpPr>
          <p:nvPr>
            <p:ph type="sldNum" sz="quarter" idx="4"/>
          </p:nvPr>
        </p:nvSpPr>
        <p:spPr>
          <a:xfrm>
            <a:off x="1023938" y="6253028"/>
            <a:ext cx="560832" cy="219456"/>
          </a:xfrm>
          <a:prstGeom prst="rect">
            <a:avLst/>
          </a:prstGeom>
        </p:spPr>
        <p:txBody>
          <a:bodyPr lIns="0" tIns="60949" rIns="0" bIns="60949" anchor="ctr"/>
          <a:lstStyle>
            <a:lvl1pPr algn="l">
              <a:defRPr sz="1000">
                <a:solidFill>
                  <a:schemeClr val="tx2"/>
                </a:solidFill>
              </a:defRPr>
            </a:lvl1pPr>
          </a:lstStyle>
          <a:p>
            <a:pPr defTabSz="914363"/>
            <a:fld id="{727B4C2D-45E2-4621-8491-2995EB46A674}" type="slidenum">
              <a:rPr lang="en-US" smtClean="0"/>
              <a:pPr defTabSz="914363"/>
              <a:t>‹#›</a:t>
            </a:fld>
            <a:endParaRPr lang="en-US"/>
          </a:p>
        </p:txBody>
      </p:sp>
      <p:sp>
        <p:nvSpPr>
          <p:cNvPr id="12" name="Freeform: Shape 11"/>
          <p:cNvSpPr/>
          <p:nvPr userDrawn="1"/>
        </p:nvSpPr>
        <p:spPr>
          <a:xfrm>
            <a:off x="0" y="6515100"/>
            <a:ext cx="12192000" cy="342900"/>
          </a:xfrm>
          <a:custGeom>
            <a:avLst/>
            <a:gdLst>
              <a:gd name="connsiteX0" fmla="*/ 12192000 w 12192000"/>
              <a:gd name="connsiteY0" fmla="*/ 0 h 342900"/>
              <a:gd name="connsiteX1" fmla="*/ 12192000 w 12192000"/>
              <a:gd name="connsiteY1" fmla="*/ 342900 h 342900"/>
              <a:gd name="connsiteX2" fmla="*/ 0 w 12192000"/>
              <a:gd name="connsiteY2" fmla="*/ 342900 h 342900"/>
              <a:gd name="connsiteX3" fmla="*/ 0 w 12192000"/>
              <a:gd name="connsiteY3" fmla="*/ 260092 h 342900"/>
            </a:gdLst>
            <a:ahLst/>
            <a:cxnLst>
              <a:cxn ang="0">
                <a:pos x="connsiteX0" y="connsiteY0"/>
              </a:cxn>
              <a:cxn ang="0">
                <a:pos x="connsiteX1" y="connsiteY1"/>
              </a:cxn>
              <a:cxn ang="0">
                <a:pos x="connsiteX2" y="connsiteY2"/>
              </a:cxn>
              <a:cxn ang="0">
                <a:pos x="connsiteX3" y="connsiteY3"/>
              </a:cxn>
            </a:cxnLst>
            <a:rect l="l" t="t" r="r" b="b"/>
            <a:pathLst>
              <a:path w="12192000" h="342900">
                <a:moveTo>
                  <a:pt x="12192000" y="0"/>
                </a:moveTo>
                <a:lnTo>
                  <a:pt x="12192000" y="342900"/>
                </a:lnTo>
                <a:lnTo>
                  <a:pt x="0" y="342900"/>
                </a:lnTo>
                <a:lnTo>
                  <a:pt x="0" y="260092"/>
                </a:lnTo>
                <a:close/>
              </a:path>
            </a:pathLst>
          </a:custGeom>
          <a:solidFill>
            <a:schemeClr val="accent1"/>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US" sz="800">
                <a:solidFill>
                  <a:schemeClr val="bg1">
                    <a:lumMod val="75000"/>
                  </a:schemeClr>
                </a:solidFill>
              </a:rPr>
              <a:t>©Valorem</a:t>
            </a:r>
          </a:p>
        </p:txBody>
      </p:sp>
      <p:pic>
        <p:nvPicPr>
          <p:cNvPr id="13" name="Picture 12"/>
          <p:cNvPicPr>
            <a:picLocks noChangeAspect="1"/>
          </p:cNvPicPr>
          <p:nvPr userDrawn="1"/>
        </p:nvPicPr>
        <p:blipFill>
          <a:blip r:embed="rId16"/>
          <a:stretch>
            <a:fillRect/>
          </a:stretch>
        </p:blipFill>
        <p:spPr>
          <a:xfrm>
            <a:off x="508000" y="6162485"/>
            <a:ext cx="400543" cy="400543"/>
          </a:xfrm>
          <a:prstGeom prst="rect">
            <a:avLst/>
          </a:prstGeom>
        </p:spPr>
      </p:pic>
      <p:sp>
        <p:nvSpPr>
          <p:cNvPr id="6" name="Footer Placeholder 5"/>
          <p:cNvSpPr>
            <a:spLocks noGrp="1"/>
          </p:cNvSpPr>
          <p:nvPr>
            <p:ph type="ftr" sz="quarter" idx="3"/>
          </p:nvPr>
        </p:nvSpPr>
        <p:spPr>
          <a:xfrm>
            <a:off x="4038600" y="6253029"/>
            <a:ext cx="4114800" cy="219455"/>
          </a:xfrm>
          <a:prstGeom prst="rect">
            <a:avLst/>
          </a:prstGeom>
        </p:spPr>
        <p:txBody>
          <a:bodyPr vert="horz" lIns="91440" tIns="45720" rIns="91440" bIns="45720" rtlCol="0" anchor="ctr"/>
          <a:lstStyle>
            <a:lvl1pPr algn="ctr">
              <a:defRPr sz="1000">
                <a:solidFill>
                  <a:schemeClr val="tx2"/>
                </a:solidFill>
              </a:defRPr>
            </a:lvl1pPr>
          </a:lstStyle>
          <a:p>
            <a:r>
              <a:rPr lang="en-US"/>
              <a:t>Confidential</a:t>
            </a:r>
          </a:p>
        </p:txBody>
      </p:sp>
    </p:spTree>
    <p:extLst>
      <p:ext uri="{BB962C8B-B14F-4D97-AF65-F5344CB8AC3E}">
        <p14:creationId xmlns:p14="http://schemas.microsoft.com/office/powerpoint/2010/main" val="2482364208"/>
      </p:ext>
    </p:extLst>
  </p:cSld>
  <p:clrMap bg1="lt1" tx1="dk1" bg2="lt2" tx2="dk2" accent1="accent1" accent2="accent2" accent3="accent3" accent4="accent4" accent5="accent5" accent6="accent6" hlink="hlink" folHlink="folHlink"/>
  <p:sldLayoutIdLst>
    <p:sldLayoutId id="2147483661" r:id="rId1"/>
    <p:sldLayoutId id="2147483667" r:id="rId2"/>
    <p:sldLayoutId id="2147483662" r:id="rId3"/>
    <p:sldLayoutId id="2147483663" r:id="rId4"/>
    <p:sldLayoutId id="2147483671" r:id="rId5"/>
    <p:sldLayoutId id="2147483665" r:id="rId6"/>
    <p:sldLayoutId id="2147483666" r:id="rId7"/>
    <p:sldLayoutId id="2147483668" r:id="rId8"/>
    <p:sldLayoutId id="2147483669" r:id="rId9"/>
    <p:sldLayoutId id="2147483685" r:id="rId10"/>
  </p:sldLayoutIdLst>
  <p:transition>
    <p:fade/>
  </p:transition>
  <p:hf hdr="0" dt="0"/>
  <p:txStyles>
    <p:titleStyle>
      <a:lvl1pPr algn="l" defTabSz="914363" rtl="0" eaLnBrk="1" latinLnBrk="0" hangingPunct="1">
        <a:lnSpc>
          <a:spcPct val="90000"/>
        </a:lnSpc>
        <a:spcBef>
          <a:spcPct val="0"/>
        </a:spcBef>
        <a:buNone/>
        <a:defRPr lang="en-US" sz="4800" b="0" kern="1200" cap="none" spc="-100" baseline="0" dirty="0" smtClean="0">
          <a:ln w="3175">
            <a:noFill/>
          </a:ln>
          <a:solidFill>
            <a:schemeClr val="accent2"/>
          </a:solidFill>
          <a:effectLst/>
          <a:latin typeface="+mj-lt"/>
          <a:ea typeface="+mn-ea"/>
          <a:cs typeface="Segoe UI" panose="020B0502040204020203" pitchFamily="34" charset="0"/>
        </a:defRPr>
      </a:lvl1pPr>
    </p:titleStyle>
    <p:bodyStyle>
      <a:lvl1pPr marL="339725" marR="0" indent="-339725" algn="l" defTabSz="914363" rtl="0" eaLnBrk="1" fontAlgn="auto" latinLnBrk="0" hangingPunct="1">
        <a:lnSpc>
          <a:spcPct val="100000"/>
        </a:lnSpc>
        <a:spcBef>
          <a:spcPts val="600"/>
        </a:spcBef>
        <a:spcAft>
          <a:spcPts val="0"/>
        </a:spcAft>
        <a:buClrTx/>
        <a:buSzPct val="80000"/>
        <a:buFont typeface="Arial" pitchFamily="34" charset="0"/>
        <a:buChar char="•"/>
        <a:tabLst/>
        <a:defRPr sz="3600" kern="1200" spc="-70" baseline="0">
          <a:solidFill>
            <a:schemeClr val="tx2"/>
          </a:solidFill>
          <a:latin typeface="+mj-lt"/>
          <a:ea typeface="+mn-ea"/>
          <a:cs typeface="+mn-cs"/>
        </a:defRPr>
      </a:lvl1pPr>
      <a:lvl2pPr marL="573088" marR="0" indent="-233363" algn="l" defTabSz="914363" rtl="0" eaLnBrk="1" fontAlgn="auto" latinLnBrk="0" hangingPunct="1">
        <a:lnSpc>
          <a:spcPct val="100000"/>
        </a:lnSpc>
        <a:spcBef>
          <a:spcPts val="600"/>
        </a:spcBef>
        <a:spcAft>
          <a:spcPts val="0"/>
        </a:spcAft>
        <a:buClrTx/>
        <a:buSzPct val="90000"/>
        <a:buFont typeface="Wingdings" pitchFamily="2" charset="2"/>
        <a:buChar char=""/>
        <a:tabLst/>
        <a:defRPr sz="2400" kern="1200" spc="0" baseline="0">
          <a:solidFill>
            <a:schemeClr val="tx2"/>
          </a:solidFill>
          <a:latin typeface="+mn-lt"/>
          <a:ea typeface="+mn-ea"/>
          <a:cs typeface="+mn-cs"/>
        </a:defRPr>
      </a:lvl2pPr>
      <a:lvl3pPr marL="798513" marR="0" indent="-225425" algn="l" defTabSz="914363" rtl="0" eaLnBrk="1" fontAlgn="auto" latinLnBrk="0" hangingPunct="1">
        <a:lnSpc>
          <a:spcPct val="100000"/>
        </a:lnSpc>
        <a:spcBef>
          <a:spcPts val="600"/>
        </a:spcBef>
        <a:spcAft>
          <a:spcPts val="0"/>
        </a:spcAft>
        <a:buClrTx/>
        <a:buSzPct val="90000"/>
        <a:buFont typeface="Wingdings" pitchFamily="2" charset="2"/>
        <a:buChar char=""/>
        <a:tabLst>
          <a:tab pos="798513" algn="l"/>
        </a:tabLst>
        <a:defRPr sz="2400" kern="1200" spc="0" baseline="0">
          <a:solidFill>
            <a:schemeClr val="tx2"/>
          </a:solidFill>
          <a:latin typeface="+mn-lt"/>
          <a:ea typeface="+mn-ea"/>
          <a:cs typeface="+mn-cs"/>
        </a:defRPr>
      </a:lvl3pPr>
      <a:lvl4pPr marL="1030288" marR="0" indent="-231775" algn="l" defTabSz="914363" rtl="0" eaLnBrk="1" fontAlgn="auto" latinLnBrk="0" hangingPunct="1">
        <a:lnSpc>
          <a:spcPct val="100000"/>
        </a:lnSpc>
        <a:spcBef>
          <a:spcPts val="600"/>
        </a:spcBef>
        <a:spcAft>
          <a:spcPts val="0"/>
        </a:spcAft>
        <a:buClrTx/>
        <a:buSzPct val="90000"/>
        <a:buFont typeface="Wingdings" pitchFamily="2" charset="2"/>
        <a:buChar char=""/>
        <a:tabLst/>
        <a:defRPr sz="2000" kern="1200" spc="0" baseline="0">
          <a:solidFill>
            <a:schemeClr val="tx2"/>
          </a:solidFill>
          <a:latin typeface="+mn-lt"/>
          <a:ea typeface="+mn-ea"/>
          <a:cs typeface="+mn-cs"/>
        </a:defRPr>
      </a:lvl4pPr>
      <a:lvl5pPr marL="1255713" marR="0" indent="-225425" algn="l" defTabSz="914363" rtl="0" eaLnBrk="1" fontAlgn="auto" latinLnBrk="0" hangingPunct="1">
        <a:lnSpc>
          <a:spcPct val="100000"/>
        </a:lnSpc>
        <a:spcBef>
          <a:spcPts val="600"/>
        </a:spcBef>
        <a:spcAft>
          <a:spcPts val="0"/>
        </a:spcAft>
        <a:buClrTx/>
        <a:buSzPct val="90000"/>
        <a:buFont typeface="Wingdings" pitchFamily="2" charset="2"/>
        <a:buChar char=""/>
        <a:tabLst>
          <a:tab pos="1255713" algn="l"/>
        </a:tabLst>
        <a:defRPr sz="2000" kern="1200" spc="0" baseline="0">
          <a:solidFill>
            <a:schemeClr val="tx2"/>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92">
          <p15:clr>
            <a:srgbClr val="F26B43"/>
          </p15:clr>
        </p15:guide>
        <p15:guide id="2" pos="320">
          <p15:clr>
            <a:srgbClr val="F26B43"/>
          </p15:clr>
        </p15:guide>
        <p15:guide id="3" pos="7360">
          <p15:clr>
            <a:srgbClr val="F26B43"/>
          </p15:clr>
        </p15:guide>
        <p15:guide id="4" orient="horz" pos="179">
          <p15:clr>
            <a:srgbClr val="F26B43"/>
          </p15:clr>
        </p15:guide>
        <p15:guide id="5" orient="horz" pos="906">
          <p15:clr>
            <a:srgbClr val="F26B43"/>
          </p15:clr>
        </p15:guide>
        <p15:guide id="6" orient="horz" pos="3912">
          <p15:clr>
            <a:srgbClr val="F26B43"/>
          </p15:clr>
        </p15:guide>
        <p15:guide id="7" orient="horz" pos="386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1" y="365127"/>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553E318-42E8-443F-9837-0E2C9B64AFE2}" type="datetimeFigureOut">
              <a:rPr lang="en-US" smtClean="0"/>
              <a:t>11/15/2017</a:t>
            </a:fld>
            <a:endParaRPr lang="en-US"/>
          </a:p>
        </p:txBody>
      </p:sp>
      <p:sp>
        <p:nvSpPr>
          <p:cNvPr id="5" name="Footer Placeholder 4"/>
          <p:cNvSpPr>
            <a:spLocks noGrp="1"/>
          </p:cNvSpPr>
          <p:nvPr>
            <p:ph type="ftr" sz="quarter" idx="3"/>
          </p:nvPr>
        </p:nvSpPr>
        <p:spPr>
          <a:xfrm>
            <a:off x="4038601"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456804B-F6D7-494C-9678-3941512E2CFE}" type="slidenum">
              <a:rPr lang="en-US" smtClean="0"/>
              <a:t>‹#›</a:t>
            </a:fld>
            <a:endParaRPr lang="en-US"/>
          </a:p>
        </p:txBody>
      </p:sp>
    </p:spTree>
    <p:extLst>
      <p:ext uri="{BB962C8B-B14F-4D97-AF65-F5344CB8AC3E}">
        <p14:creationId xmlns:p14="http://schemas.microsoft.com/office/powerpoint/2010/main" val="2550116120"/>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Lst>
  <p:txStyles>
    <p:titleStyle>
      <a:lvl1pPr algn="l" defTabSz="914126"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531" indent="-228531" algn="l" defTabSz="914126" rtl="0" eaLnBrk="1" latinLnBrk="0" hangingPunct="1">
        <a:lnSpc>
          <a:spcPct val="90000"/>
        </a:lnSpc>
        <a:spcBef>
          <a:spcPts val="1000"/>
        </a:spcBef>
        <a:buFont typeface="Arial" panose="020B0604020202020204" pitchFamily="34" charset="0"/>
        <a:buChar char="•"/>
        <a:defRPr sz="2799" kern="1200">
          <a:solidFill>
            <a:schemeClr val="tx1"/>
          </a:solidFill>
          <a:latin typeface="+mn-lt"/>
          <a:ea typeface="+mn-ea"/>
          <a:cs typeface="+mn-cs"/>
        </a:defRPr>
      </a:lvl1pPr>
      <a:lvl2pPr marL="685594" indent="-228531" algn="l" defTabSz="914126" rtl="0" eaLnBrk="1" latinLnBrk="0" hangingPunct="1">
        <a:lnSpc>
          <a:spcPct val="90000"/>
        </a:lnSpc>
        <a:spcBef>
          <a:spcPts val="500"/>
        </a:spcBef>
        <a:buFont typeface="Arial" panose="020B0604020202020204" pitchFamily="34" charset="0"/>
        <a:buChar char="•"/>
        <a:defRPr sz="2399" kern="1200">
          <a:solidFill>
            <a:schemeClr val="tx1"/>
          </a:solidFill>
          <a:latin typeface="+mn-lt"/>
          <a:ea typeface="+mn-ea"/>
          <a:cs typeface="+mn-cs"/>
        </a:defRPr>
      </a:lvl2pPr>
      <a:lvl3pPr marL="1142657" indent="-228531" algn="l" defTabSz="914126" rtl="0" eaLnBrk="1" latinLnBrk="0" hangingPunct="1">
        <a:lnSpc>
          <a:spcPct val="90000"/>
        </a:lnSpc>
        <a:spcBef>
          <a:spcPts val="500"/>
        </a:spcBef>
        <a:buFont typeface="Arial" panose="020B0604020202020204" pitchFamily="34" charset="0"/>
        <a:buChar char="•"/>
        <a:defRPr sz="1999" kern="1200">
          <a:solidFill>
            <a:schemeClr val="tx1"/>
          </a:solidFill>
          <a:latin typeface="+mn-lt"/>
          <a:ea typeface="+mn-ea"/>
          <a:cs typeface="+mn-cs"/>
        </a:defRPr>
      </a:lvl3pPr>
      <a:lvl4pPr marL="1599720"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4pPr>
      <a:lvl5pPr marL="2056783"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2.xml"/><Relationship Id="rId7" Type="http://schemas.openxmlformats.org/officeDocument/2006/relationships/image" Target="../media/image9.jpg"/><Relationship Id="rId2" Type="http://schemas.openxmlformats.org/officeDocument/2006/relationships/tags" Target="../tags/tag12.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3" Type="http://schemas.openxmlformats.org/officeDocument/2006/relationships/hyperlink" Target="https://datafactory.azure.com/?datafactory/edit/subscription/7bb2614e-43e6-46d0-b531-609738a791ef/resourceGroup/czwresource/dataFactory/czwADF1/?tenantId=5c8085d9-1e88-4bb6-b5bd-e6e6d5b5babd" TargetMode="External"/><Relationship Id="rId2" Type="http://schemas.openxmlformats.org/officeDocument/2006/relationships/hyperlink" Target="https://portal.azure.com/" TargetMode="Externa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2" Type="http://schemas.openxmlformats.org/officeDocument/2006/relationships/hyperlink" Target="https://use-su1.azuredatacatalog.com/#/browse" TargetMode="Externa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hyperlink" Target="https://studio.azureml.net/" TargetMode="Externa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21.xml"/><Relationship Id="rId1" Type="http://schemas.openxmlformats.org/officeDocument/2006/relationships/slideLayout" Target="../slideLayouts/slideLayout6.xml"/><Relationship Id="rId4" Type="http://schemas.openxmlformats.org/officeDocument/2006/relationships/image" Target="../media/image2.png"/></Relationships>
</file>

<file path=ppt/slides/_rels/slide36.xml.rels><?xml version="1.0" encoding="UTF-8" standalone="yes"?>
<Relationships xmlns="http://schemas.openxmlformats.org/package/2006/relationships"><Relationship Id="rId3" Type="http://schemas.openxmlformats.org/officeDocument/2006/relationships/hyperlink" Target="mailto:cweaver@valorem.com" TargetMode="External"/><Relationship Id="rId2" Type="http://schemas.openxmlformats.org/officeDocument/2006/relationships/notesSlide" Target="../notesSlides/notesSlide22.xml"/><Relationship Id="rId1" Type="http://schemas.openxmlformats.org/officeDocument/2006/relationships/slideLayout" Target="../slideLayouts/slideLayout9.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10.jpg"/><Relationship Id="rId7" Type="http://schemas.openxmlformats.org/officeDocument/2006/relationships/image" Target="../media/image14.jpg"/><Relationship Id="rId2" Type="http://schemas.openxmlformats.org/officeDocument/2006/relationships/notesSlide" Target="../notesSlides/notesSlide4.xml"/><Relationship Id="rId1" Type="http://schemas.openxmlformats.org/officeDocument/2006/relationships/slideLayout" Target="../slideLayouts/slideLayout6.xml"/><Relationship Id="rId6" Type="http://schemas.openxmlformats.org/officeDocument/2006/relationships/image" Target="../media/image13.jpg"/><Relationship Id="rId5" Type="http://schemas.openxmlformats.org/officeDocument/2006/relationships/image" Target="../media/image12.jpg"/><Relationship Id="rId4" Type="http://schemas.openxmlformats.org/officeDocument/2006/relationships/image" Target="../media/image11.jpg"/></Relationships>
</file>

<file path=ppt/slides/_rels/slide5.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5.xml"/><Relationship Id="rId7" Type="http://schemas.openxmlformats.org/officeDocument/2006/relationships/image" Target="../media/image15.emf"/><Relationship Id="rId12" Type="http://schemas.openxmlformats.org/officeDocument/2006/relationships/image" Target="../media/image21.png"/><Relationship Id="rId2" Type="http://schemas.openxmlformats.org/officeDocument/2006/relationships/tags" Target="../tags/tag13.xml"/><Relationship Id="rId1" Type="http://schemas.openxmlformats.org/officeDocument/2006/relationships/vmlDrawing" Target="../drawings/vmlDrawing13.vml"/><Relationship Id="rId6" Type="http://schemas.openxmlformats.org/officeDocument/2006/relationships/oleObject" Target="../embeddings/oleObject10.bin"/><Relationship Id="rId11" Type="http://schemas.openxmlformats.org/officeDocument/2006/relationships/image" Target="../media/image20.png"/><Relationship Id="rId5" Type="http://schemas.openxmlformats.org/officeDocument/2006/relationships/image" Target="../media/image16.jpeg"/><Relationship Id="rId10" Type="http://schemas.openxmlformats.org/officeDocument/2006/relationships/image" Target="../media/image19.png"/><Relationship Id="rId4" Type="http://schemas.openxmlformats.org/officeDocument/2006/relationships/notesSlide" Target="../notesSlides/notesSlide5.xml"/><Relationship Id="rId9" Type="http://schemas.openxmlformats.org/officeDocument/2006/relationships/image" Target="../media/image18.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image" Target="../media/image22.jpg"/><Relationship Id="rId1" Type="http://schemas.openxmlformats.org/officeDocument/2006/relationships/slideLayout" Target="../slideLayouts/slideLayout6.xml"/><Relationship Id="rId4" Type="http://schemas.openxmlformats.org/officeDocument/2006/relationships/image" Target="../media/image24.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303E48"/>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526146" y="3341727"/>
            <a:ext cx="8459244" cy="1292662"/>
          </a:xfrm>
        </p:spPr>
        <p:txBody>
          <a:bodyPr/>
          <a:lstStyle/>
          <a:p>
            <a:r>
              <a:rPr lang="en-US" dirty="0" err="1" smtClean="0">
                <a:latin typeface="Segoe UI Light"/>
                <a:cs typeface="Segoe UI Light"/>
              </a:rPr>
              <a:t>AzureML</a:t>
            </a:r>
            <a:r>
              <a:rPr lang="en-US" dirty="0" smtClean="0">
                <a:latin typeface="Segoe UI Light"/>
                <a:cs typeface="Segoe UI Light"/>
              </a:rPr>
              <a:t> Walkthrough</a:t>
            </a:r>
            <a:br>
              <a:rPr lang="en-US" dirty="0" smtClean="0">
                <a:latin typeface="Segoe UI Light"/>
                <a:cs typeface="Segoe UI Light"/>
              </a:rPr>
            </a:br>
            <a:r>
              <a:rPr lang="en-US" sz="3600" dirty="0" smtClean="0">
                <a:solidFill>
                  <a:schemeClr val="tx1">
                    <a:lumMod val="85000"/>
                    <a:lumOff val="15000"/>
                  </a:schemeClr>
                </a:solidFill>
                <a:latin typeface="Segoe UI Light"/>
                <a:cs typeface="Segoe UI Light"/>
              </a:rPr>
              <a:t>A Data Journey</a:t>
            </a:r>
            <a:endParaRPr lang="en-US" sz="3600" dirty="0">
              <a:solidFill>
                <a:schemeClr val="tx1">
                  <a:lumMod val="85000"/>
                  <a:lumOff val="15000"/>
                </a:schemeClr>
              </a:solidFill>
              <a:latin typeface="Segoe UI Light"/>
              <a:cs typeface="Segoe UI Light"/>
            </a:endParaRPr>
          </a:p>
        </p:txBody>
      </p:sp>
      <p:sp>
        <p:nvSpPr>
          <p:cNvPr id="4" name="Text Placeholder 3"/>
          <p:cNvSpPr>
            <a:spLocks noGrp="1"/>
          </p:cNvSpPr>
          <p:nvPr>
            <p:ph type="body" sz="quarter" idx="12"/>
          </p:nvPr>
        </p:nvSpPr>
        <p:spPr/>
        <p:txBody>
          <a:bodyPr/>
          <a:lstStyle/>
          <a:p>
            <a:r>
              <a:rPr lang="en-US" dirty="0" smtClean="0"/>
              <a:t>October 16</a:t>
            </a:r>
            <a:r>
              <a:rPr lang="en-US" baseline="30000" dirty="0" smtClean="0"/>
              <a:t>th</a:t>
            </a:r>
            <a:r>
              <a:rPr lang="en-US" dirty="0"/>
              <a:t>,</a:t>
            </a:r>
            <a:r>
              <a:rPr lang="en-US" baseline="30000" dirty="0"/>
              <a:t> </a:t>
            </a:r>
            <a:r>
              <a:rPr lang="en-US" dirty="0"/>
              <a:t>2017</a:t>
            </a:r>
          </a:p>
        </p:txBody>
      </p:sp>
    </p:spTree>
    <p:extLst>
      <p:ext uri="{BB962C8B-B14F-4D97-AF65-F5344CB8AC3E}">
        <p14:creationId xmlns:p14="http://schemas.microsoft.com/office/powerpoint/2010/main" val="40826456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GENDA SLIDE</a:t>
            </a:r>
            <a:endParaRPr lang="en-US">
              <a:cs typeface="Segoe UI Light"/>
            </a:endParaRPr>
          </a:p>
        </p:txBody>
      </p:sp>
      <p:sp>
        <p:nvSpPr>
          <p:cNvPr id="4" name="Footer Placeholder 3"/>
          <p:cNvSpPr>
            <a:spLocks noGrp="1"/>
          </p:cNvSpPr>
          <p:nvPr>
            <p:ph type="ftr" sz="quarter" idx="3"/>
          </p:nvPr>
        </p:nvSpPr>
        <p:spPr/>
        <p:txBody>
          <a:bodyPr/>
          <a:lstStyle/>
          <a:p>
            <a:r>
              <a:rPr lang="en-US"/>
              <a:t>Confidential</a:t>
            </a:r>
          </a:p>
        </p:txBody>
      </p:sp>
      <p:sp>
        <p:nvSpPr>
          <p:cNvPr id="6" name="Slide Number Placeholder 5"/>
          <p:cNvSpPr>
            <a:spLocks noGrp="1"/>
          </p:cNvSpPr>
          <p:nvPr>
            <p:ph type="sldNum" sz="quarter" idx="4"/>
          </p:nvPr>
        </p:nvSpPr>
        <p:spPr/>
        <p:txBody>
          <a:bodyPr/>
          <a:lstStyle/>
          <a:p>
            <a:pPr defTabSz="914363"/>
            <a:fld id="{727B4C2D-45E2-4621-8491-2995EB46A674}" type="slidenum">
              <a:rPr lang="en-US" smtClean="0"/>
              <a:pPr defTabSz="914363"/>
              <a:t>10</a:t>
            </a:fld>
            <a:endParaRPr lang="en-US"/>
          </a:p>
        </p:txBody>
      </p:sp>
      <p:pic>
        <p:nvPicPr>
          <p:cNvPr id="5" name="Picture 4"/>
          <p:cNvPicPr>
            <a:picLocks noChangeAspect="1"/>
          </p:cNvPicPr>
          <p:nvPr/>
        </p:nvPicPr>
        <p:blipFill rotWithShape="1">
          <a:blip r:embed="rId3"/>
          <a:srcRect b="3131"/>
          <a:stretch/>
        </p:blipFill>
        <p:spPr>
          <a:xfrm>
            <a:off x="712177" y="1017111"/>
            <a:ext cx="10056144" cy="2454483"/>
          </a:xfrm>
          <a:prstGeom prst="rect">
            <a:avLst/>
          </a:prstGeom>
        </p:spPr>
      </p:pic>
      <p:sp>
        <p:nvSpPr>
          <p:cNvPr id="7" name="TextBox 6"/>
          <p:cNvSpPr txBox="1"/>
          <p:nvPr/>
        </p:nvSpPr>
        <p:spPr>
          <a:xfrm>
            <a:off x="931985" y="3754316"/>
            <a:ext cx="10673861" cy="2215991"/>
          </a:xfrm>
          <a:prstGeom prst="rect">
            <a:avLst/>
          </a:prstGeom>
          <a:noFill/>
        </p:spPr>
        <p:txBody>
          <a:bodyPr wrap="square" lIns="0" tIns="0" rIns="0" bIns="0" rtlCol="0">
            <a:spAutoFit/>
          </a:bodyPr>
          <a:lstStyle/>
          <a:p>
            <a:r>
              <a:rPr lang="en-US" sz="2400" spc="-70" dirty="0" smtClean="0">
                <a:solidFill>
                  <a:srgbClr val="0070C0"/>
                </a:solidFill>
              </a:rPr>
              <a:t>We will use:</a:t>
            </a:r>
          </a:p>
          <a:p>
            <a:pPr marL="342900" indent="-342900">
              <a:buFont typeface="Arial" panose="020B0604020202020204" pitchFamily="34" charset="0"/>
              <a:buChar char="•"/>
            </a:pPr>
            <a:r>
              <a:rPr lang="en-US" sz="2400" spc="-70" dirty="0" smtClean="0">
                <a:solidFill>
                  <a:srgbClr val="0070C0"/>
                </a:solidFill>
              </a:rPr>
              <a:t>Azure Data Factory to retrieve on-premises data</a:t>
            </a:r>
          </a:p>
          <a:p>
            <a:pPr marL="342900" indent="-342900">
              <a:buFont typeface="Arial" panose="020B0604020202020204" pitchFamily="34" charset="0"/>
              <a:buChar char="•"/>
            </a:pPr>
            <a:r>
              <a:rPr lang="en-US" sz="2400" spc="-70" dirty="0" smtClean="0">
                <a:solidFill>
                  <a:srgbClr val="0070C0"/>
                </a:solidFill>
              </a:rPr>
              <a:t>Store the data on Azure Storage Blob</a:t>
            </a:r>
          </a:p>
          <a:p>
            <a:pPr marL="342900" indent="-342900">
              <a:buFont typeface="Arial" panose="020B0604020202020204" pitchFamily="34" charset="0"/>
              <a:buChar char="•"/>
            </a:pPr>
            <a:r>
              <a:rPr lang="en-US" sz="2400" spc="-70" dirty="0" smtClean="0">
                <a:solidFill>
                  <a:srgbClr val="0070C0"/>
                </a:solidFill>
              </a:rPr>
              <a:t>Ingest data from Azure Blob into </a:t>
            </a:r>
            <a:r>
              <a:rPr lang="en-US" sz="2400" spc="-70" dirty="0" err="1" smtClean="0">
                <a:solidFill>
                  <a:srgbClr val="0070C0"/>
                </a:solidFill>
              </a:rPr>
              <a:t>AzureML</a:t>
            </a:r>
            <a:endParaRPr lang="en-US" sz="2400" spc="-70" dirty="0" smtClean="0">
              <a:solidFill>
                <a:srgbClr val="0070C0"/>
              </a:solidFill>
            </a:endParaRPr>
          </a:p>
          <a:p>
            <a:pPr marL="342900" indent="-342900">
              <a:buFont typeface="Arial" panose="020B0604020202020204" pitchFamily="34" charset="0"/>
              <a:buChar char="•"/>
            </a:pPr>
            <a:r>
              <a:rPr lang="en-US" sz="2400" spc="-70" dirty="0" smtClean="0">
                <a:solidFill>
                  <a:srgbClr val="0070C0"/>
                </a:solidFill>
              </a:rPr>
              <a:t>Create a predictive model and operationalize it through an API</a:t>
            </a:r>
          </a:p>
          <a:p>
            <a:pPr marL="342900" indent="-342900">
              <a:buFont typeface="Arial" panose="020B0604020202020204" pitchFamily="34" charset="0"/>
              <a:buChar char="•"/>
            </a:pPr>
            <a:r>
              <a:rPr lang="en-US" sz="2400" spc="-70" dirty="0" smtClean="0">
                <a:solidFill>
                  <a:srgbClr val="0070C0"/>
                </a:solidFill>
              </a:rPr>
              <a:t>Consume the API in Excel and Power BI</a:t>
            </a:r>
          </a:p>
        </p:txBody>
      </p:sp>
    </p:spTree>
    <p:extLst>
      <p:ext uri="{BB962C8B-B14F-4D97-AF65-F5344CB8AC3E}">
        <p14:creationId xmlns:p14="http://schemas.microsoft.com/office/powerpoint/2010/main" val="2041398319"/>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AzureML</a:t>
            </a:r>
            <a:endParaRPr lang="en-US" dirty="0"/>
          </a:p>
        </p:txBody>
      </p:sp>
      <p:sp>
        <p:nvSpPr>
          <p:cNvPr id="3" name="Text Placeholder 2"/>
          <p:cNvSpPr>
            <a:spLocks noGrp="1"/>
          </p:cNvSpPr>
          <p:nvPr>
            <p:ph type="body" sz="quarter" idx="12"/>
          </p:nvPr>
        </p:nvSpPr>
        <p:spPr/>
        <p:txBody>
          <a:bodyPr/>
          <a:lstStyle/>
          <a:p>
            <a:r>
              <a:rPr lang="en-US" dirty="0" smtClean="0"/>
              <a:t>Building the model</a:t>
            </a:r>
            <a:endParaRPr lang="en-US" dirty="0"/>
          </a:p>
        </p:txBody>
      </p:sp>
    </p:spTree>
    <p:extLst>
      <p:ext uri="{BB962C8B-B14F-4D97-AF65-F5344CB8AC3E}">
        <p14:creationId xmlns:p14="http://schemas.microsoft.com/office/powerpoint/2010/main" val="290253810"/>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19248" y="1447799"/>
            <a:ext cx="11151917" cy="2923877"/>
          </a:xfrm>
        </p:spPr>
        <p:txBody>
          <a:bodyPr/>
          <a:lstStyle/>
          <a:p>
            <a:r>
              <a:rPr lang="en-US" sz="2000" dirty="0" smtClean="0"/>
              <a:t>Data Analysis</a:t>
            </a:r>
          </a:p>
          <a:p>
            <a:pPr marL="571500" indent="-571500">
              <a:spcBef>
                <a:spcPts val="1200"/>
              </a:spcBef>
              <a:buFont typeface="Arial" panose="020B0604020202020204" pitchFamily="34" charset="0"/>
              <a:buChar char="•"/>
            </a:pPr>
            <a:r>
              <a:rPr lang="en-US" sz="2000" dirty="0" smtClean="0"/>
              <a:t>Drag </a:t>
            </a:r>
            <a:r>
              <a:rPr lang="en-US" sz="2000" dirty="0" err="1" smtClean="0"/>
              <a:t>BikeBuyer</a:t>
            </a:r>
            <a:r>
              <a:rPr lang="en-US" sz="2000" dirty="0" smtClean="0"/>
              <a:t> data onto canvas and visualize - note no missing values</a:t>
            </a:r>
          </a:p>
          <a:p>
            <a:pPr marL="571500" indent="-571500">
              <a:spcBef>
                <a:spcPts val="1200"/>
              </a:spcBef>
              <a:buFont typeface="Arial" panose="020B0604020202020204" pitchFamily="34" charset="0"/>
              <a:buChar char="•"/>
            </a:pPr>
            <a:r>
              <a:rPr lang="en-US" sz="2000" dirty="0" smtClean="0"/>
              <a:t>Note last column Bike Buyer – the label</a:t>
            </a:r>
          </a:p>
          <a:p>
            <a:pPr marL="571500" indent="-571500">
              <a:spcBef>
                <a:spcPts val="1200"/>
              </a:spcBef>
              <a:buFont typeface="Arial" panose="020B0604020202020204" pitchFamily="34" charset="0"/>
              <a:buChar char="•"/>
            </a:pPr>
            <a:r>
              <a:rPr lang="en-US" sz="2000" dirty="0" smtClean="0"/>
              <a:t>Note yearly income – not normal – some </a:t>
            </a:r>
            <a:r>
              <a:rPr lang="en-US" sz="2000" dirty="0" err="1" smtClean="0"/>
              <a:t>aglos</a:t>
            </a:r>
            <a:r>
              <a:rPr lang="en-US" sz="2000" dirty="0" smtClean="0"/>
              <a:t> require normal </a:t>
            </a:r>
            <a:r>
              <a:rPr lang="en-US" sz="2000" dirty="0" err="1" smtClean="0"/>
              <a:t>dist</a:t>
            </a:r>
            <a:r>
              <a:rPr lang="en-US" sz="2000" dirty="0" smtClean="0"/>
              <a:t> (Age has same symptoms)</a:t>
            </a:r>
          </a:p>
          <a:p>
            <a:pPr marL="571500" indent="-571500">
              <a:spcBef>
                <a:spcPts val="1200"/>
              </a:spcBef>
              <a:buFont typeface="Arial" panose="020B0604020202020204" pitchFamily="34" charset="0"/>
              <a:buChar char="•"/>
            </a:pPr>
            <a:r>
              <a:rPr lang="en-US" sz="2000" dirty="0" smtClean="0"/>
              <a:t>Show box and whisker and explain.  Outliers are 1.5 * IRQ (75</a:t>
            </a:r>
            <a:r>
              <a:rPr lang="en-US" sz="2000" baseline="30000" dirty="0" smtClean="0"/>
              <a:t>th</a:t>
            </a:r>
            <a:r>
              <a:rPr lang="en-US" sz="2000" dirty="0" smtClean="0"/>
              <a:t> percentile – 25</a:t>
            </a:r>
            <a:r>
              <a:rPr lang="en-US" sz="2000" baseline="30000" dirty="0" smtClean="0"/>
              <a:t>th</a:t>
            </a:r>
            <a:r>
              <a:rPr lang="en-US" sz="2000" dirty="0" smtClean="0"/>
              <a:t> percentile)</a:t>
            </a:r>
          </a:p>
          <a:p>
            <a:pPr marL="571500" indent="-571500">
              <a:spcBef>
                <a:spcPts val="1200"/>
              </a:spcBef>
              <a:buFont typeface="Arial" panose="020B0604020202020204" pitchFamily="34" charset="0"/>
              <a:buChar char="•"/>
            </a:pPr>
            <a:r>
              <a:rPr lang="en-US" sz="2000" dirty="0" smtClean="0"/>
              <a:t>Correct income/Age with Apply Math Operation – Log10.  Outlier on box whisker plot is gone.  Preserved all the data with this transformation without losing an information! </a:t>
            </a:r>
          </a:p>
        </p:txBody>
      </p:sp>
      <p:sp>
        <p:nvSpPr>
          <p:cNvPr id="3" name="Title 2"/>
          <p:cNvSpPr>
            <a:spLocks noGrp="1"/>
          </p:cNvSpPr>
          <p:nvPr>
            <p:ph type="title"/>
          </p:nvPr>
        </p:nvSpPr>
        <p:spPr/>
        <p:txBody>
          <a:bodyPr/>
          <a:lstStyle/>
          <a:p>
            <a:r>
              <a:rPr lang="en-US" dirty="0" err="1" smtClean="0"/>
              <a:t>AzureML</a:t>
            </a:r>
            <a:r>
              <a:rPr lang="en-US" dirty="0" smtClean="0"/>
              <a:t> – Propensity Model Demo</a:t>
            </a:r>
            <a:endParaRPr lang="en-US" dirty="0"/>
          </a:p>
        </p:txBody>
      </p:sp>
      <p:sp>
        <p:nvSpPr>
          <p:cNvPr id="4" name="Footer Placeholder 3"/>
          <p:cNvSpPr>
            <a:spLocks noGrp="1"/>
          </p:cNvSpPr>
          <p:nvPr>
            <p:ph type="ftr" sz="quarter" idx="3"/>
          </p:nvPr>
        </p:nvSpPr>
        <p:spPr/>
        <p:txBody>
          <a:bodyPr/>
          <a:lstStyle/>
          <a:p>
            <a:r>
              <a:rPr lang="en-US" smtClean="0"/>
              <a:t>Confidential</a:t>
            </a:r>
            <a:endParaRPr lang="en-US"/>
          </a:p>
        </p:txBody>
      </p:sp>
      <p:sp>
        <p:nvSpPr>
          <p:cNvPr id="5" name="Slide Number Placeholder 4"/>
          <p:cNvSpPr>
            <a:spLocks noGrp="1"/>
          </p:cNvSpPr>
          <p:nvPr>
            <p:ph type="sldNum" sz="quarter" idx="4"/>
          </p:nvPr>
        </p:nvSpPr>
        <p:spPr/>
        <p:txBody>
          <a:bodyPr/>
          <a:lstStyle/>
          <a:p>
            <a:pPr defTabSz="914363"/>
            <a:fld id="{727B4C2D-45E2-4621-8491-2995EB46A674}" type="slidenum">
              <a:rPr lang="en-US" smtClean="0"/>
              <a:pPr defTabSz="914363"/>
              <a:t>12</a:t>
            </a:fld>
            <a:endParaRPr lang="en-US"/>
          </a:p>
        </p:txBody>
      </p:sp>
    </p:spTree>
    <p:extLst>
      <p:ext uri="{BB962C8B-B14F-4D97-AF65-F5344CB8AC3E}">
        <p14:creationId xmlns:p14="http://schemas.microsoft.com/office/powerpoint/2010/main" val="119463038"/>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19248" y="1447799"/>
            <a:ext cx="11151917" cy="3554819"/>
          </a:xfrm>
        </p:spPr>
        <p:txBody>
          <a:bodyPr/>
          <a:lstStyle/>
          <a:p>
            <a:r>
              <a:rPr lang="en-US" sz="2000" dirty="0" smtClean="0"/>
              <a:t>Feature Selection</a:t>
            </a:r>
          </a:p>
          <a:p>
            <a:pPr marL="571500" indent="-571500">
              <a:spcBef>
                <a:spcPts val="1200"/>
              </a:spcBef>
              <a:buFont typeface="Arial" panose="020B0604020202020204" pitchFamily="34" charset="0"/>
              <a:buChar char="•"/>
            </a:pPr>
            <a:r>
              <a:rPr lang="en-US" sz="2000" dirty="0" smtClean="0"/>
              <a:t>Finds the set of variables that are highly correlated with the target label (Bike Buyer) with low correlation between the other variables.</a:t>
            </a:r>
          </a:p>
          <a:p>
            <a:pPr marL="571500" lvl="1" indent="-571500">
              <a:spcBef>
                <a:spcPts val="1200"/>
              </a:spcBef>
              <a:buFont typeface="Arial" panose="020B0604020202020204" pitchFamily="34" charset="0"/>
              <a:buChar char="•"/>
            </a:pPr>
            <a:r>
              <a:rPr lang="en-US" spc="-70" dirty="0">
                <a:latin typeface="+mj-lt"/>
              </a:rPr>
              <a:t>Experiment with the different scoring options during </a:t>
            </a:r>
            <a:r>
              <a:rPr lang="en-US" spc="-70" dirty="0" smtClean="0">
                <a:latin typeface="+mj-lt"/>
              </a:rPr>
              <a:t>experimentation</a:t>
            </a:r>
          </a:p>
          <a:p>
            <a:pPr lvl="1">
              <a:spcBef>
                <a:spcPts val="1200"/>
              </a:spcBef>
            </a:pPr>
            <a:r>
              <a:rPr lang="en-US" spc="-70" dirty="0" smtClean="0">
                <a:latin typeface="+mj-lt"/>
              </a:rPr>
              <a:t>Splitting Data</a:t>
            </a:r>
          </a:p>
          <a:p>
            <a:pPr marL="571500" lvl="1" indent="-571500">
              <a:spcBef>
                <a:spcPts val="1200"/>
              </a:spcBef>
              <a:buFont typeface="Arial" panose="020B0604020202020204" pitchFamily="34" charset="0"/>
              <a:buChar char="•"/>
            </a:pPr>
            <a:r>
              <a:rPr lang="en-US" spc="-70" dirty="0" smtClean="0">
                <a:latin typeface="+mj-lt"/>
              </a:rPr>
              <a:t>2 methods demonstrated</a:t>
            </a:r>
          </a:p>
          <a:p>
            <a:pPr marL="803275" lvl="2" indent="-571500">
              <a:spcBef>
                <a:spcPts val="1200"/>
              </a:spcBef>
              <a:buFont typeface="Arial" panose="020B0604020202020204" pitchFamily="34" charset="0"/>
              <a:buChar char="•"/>
            </a:pPr>
            <a:r>
              <a:rPr lang="en-US" spc="-70" dirty="0" smtClean="0">
                <a:latin typeface="+mj-lt"/>
              </a:rPr>
              <a:t>Split data</a:t>
            </a:r>
          </a:p>
          <a:p>
            <a:pPr marL="803275" lvl="2" indent="-571500">
              <a:spcBef>
                <a:spcPts val="1200"/>
              </a:spcBef>
              <a:buFont typeface="Arial" panose="020B0604020202020204" pitchFamily="34" charset="0"/>
              <a:buChar char="•"/>
            </a:pPr>
            <a:r>
              <a:rPr lang="en-US" spc="-70" dirty="0" smtClean="0">
                <a:latin typeface="+mj-lt"/>
              </a:rPr>
              <a:t>Cross validation</a:t>
            </a:r>
            <a:endParaRPr lang="en-US" spc="-70" dirty="0">
              <a:latin typeface="+mj-lt"/>
            </a:endParaRPr>
          </a:p>
          <a:p>
            <a:pPr marL="571500" lvl="1" indent="-571500">
              <a:spcBef>
                <a:spcPts val="1200"/>
              </a:spcBef>
              <a:buFont typeface="Arial" panose="020B0604020202020204" pitchFamily="34" charset="0"/>
              <a:buChar char="•"/>
            </a:pPr>
            <a:endParaRPr lang="en-US" sz="100" dirty="0" smtClean="0"/>
          </a:p>
        </p:txBody>
      </p:sp>
      <p:sp>
        <p:nvSpPr>
          <p:cNvPr id="3" name="Title 2"/>
          <p:cNvSpPr>
            <a:spLocks noGrp="1"/>
          </p:cNvSpPr>
          <p:nvPr>
            <p:ph type="title"/>
          </p:nvPr>
        </p:nvSpPr>
        <p:spPr/>
        <p:txBody>
          <a:bodyPr/>
          <a:lstStyle/>
          <a:p>
            <a:r>
              <a:rPr lang="en-US" dirty="0" err="1" smtClean="0"/>
              <a:t>AzureML</a:t>
            </a:r>
            <a:r>
              <a:rPr lang="en-US" dirty="0" smtClean="0"/>
              <a:t> – Propensity Model Demo</a:t>
            </a:r>
            <a:endParaRPr lang="en-US" dirty="0"/>
          </a:p>
        </p:txBody>
      </p:sp>
      <p:sp>
        <p:nvSpPr>
          <p:cNvPr id="4" name="Footer Placeholder 3"/>
          <p:cNvSpPr>
            <a:spLocks noGrp="1"/>
          </p:cNvSpPr>
          <p:nvPr>
            <p:ph type="ftr" sz="quarter" idx="3"/>
          </p:nvPr>
        </p:nvSpPr>
        <p:spPr/>
        <p:txBody>
          <a:bodyPr/>
          <a:lstStyle/>
          <a:p>
            <a:r>
              <a:rPr lang="en-US" smtClean="0"/>
              <a:t>Confidential</a:t>
            </a:r>
            <a:endParaRPr lang="en-US"/>
          </a:p>
        </p:txBody>
      </p:sp>
      <p:sp>
        <p:nvSpPr>
          <p:cNvPr id="5" name="Slide Number Placeholder 4"/>
          <p:cNvSpPr>
            <a:spLocks noGrp="1"/>
          </p:cNvSpPr>
          <p:nvPr>
            <p:ph type="sldNum" sz="quarter" idx="4"/>
          </p:nvPr>
        </p:nvSpPr>
        <p:spPr/>
        <p:txBody>
          <a:bodyPr/>
          <a:lstStyle/>
          <a:p>
            <a:pPr defTabSz="914363"/>
            <a:fld id="{727B4C2D-45E2-4621-8491-2995EB46A674}" type="slidenum">
              <a:rPr lang="en-US" smtClean="0"/>
              <a:pPr defTabSz="914363"/>
              <a:t>13</a:t>
            </a:fld>
            <a:endParaRPr lang="en-US"/>
          </a:p>
        </p:txBody>
      </p:sp>
    </p:spTree>
    <p:extLst>
      <p:ext uri="{BB962C8B-B14F-4D97-AF65-F5344CB8AC3E}">
        <p14:creationId xmlns:p14="http://schemas.microsoft.com/office/powerpoint/2010/main" val="346673815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19248" y="1447799"/>
            <a:ext cx="11151917" cy="4770537"/>
          </a:xfrm>
        </p:spPr>
        <p:txBody>
          <a:bodyPr/>
          <a:lstStyle/>
          <a:p>
            <a:r>
              <a:rPr lang="en-US" sz="2000" dirty="0" smtClean="0"/>
              <a:t>Model Development</a:t>
            </a:r>
          </a:p>
          <a:p>
            <a:pPr marL="571500" lvl="1" indent="-571500">
              <a:spcBef>
                <a:spcPts val="1200"/>
              </a:spcBef>
              <a:buFont typeface="Arial" panose="020B0604020202020204" pitchFamily="34" charset="0"/>
              <a:buChar char="•"/>
            </a:pPr>
            <a:r>
              <a:rPr lang="en-US" dirty="0" smtClean="0">
                <a:latin typeface="+mj-lt"/>
              </a:rPr>
              <a:t>Classification typically start with logistic regression</a:t>
            </a:r>
          </a:p>
          <a:p>
            <a:pPr marL="571500" lvl="1" indent="-571500">
              <a:spcBef>
                <a:spcPts val="1200"/>
              </a:spcBef>
              <a:buFont typeface="Arial" panose="020B0604020202020204" pitchFamily="34" charset="0"/>
              <a:buChar char="•"/>
            </a:pPr>
            <a:r>
              <a:rPr lang="en-US" dirty="0" smtClean="0">
                <a:latin typeface="+mj-lt"/>
              </a:rPr>
              <a:t>Boosted tree have become more common</a:t>
            </a:r>
          </a:p>
          <a:p>
            <a:pPr lvl="1">
              <a:spcBef>
                <a:spcPts val="1200"/>
              </a:spcBef>
            </a:pPr>
            <a:r>
              <a:rPr lang="en-US" dirty="0" smtClean="0">
                <a:latin typeface="+mj-lt"/>
              </a:rPr>
              <a:t>Compare Models</a:t>
            </a:r>
          </a:p>
          <a:p>
            <a:pPr marL="342900" lvl="1" indent="-342900">
              <a:spcBef>
                <a:spcPts val="1200"/>
              </a:spcBef>
              <a:buFont typeface="Arial" panose="020B0604020202020204" pitchFamily="34" charset="0"/>
              <a:buChar char="•"/>
            </a:pPr>
            <a:r>
              <a:rPr lang="en-US" dirty="0" err="1" smtClean="0">
                <a:latin typeface="+mj-lt"/>
              </a:rPr>
              <a:t>AzureML</a:t>
            </a:r>
            <a:r>
              <a:rPr lang="en-US" dirty="0" smtClean="0">
                <a:latin typeface="+mj-lt"/>
              </a:rPr>
              <a:t> Evaluate Model provides a number of useful metrics</a:t>
            </a:r>
          </a:p>
          <a:p>
            <a:pPr marL="574675" lvl="2" indent="-342900">
              <a:spcBef>
                <a:spcPts val="1200"/>
              </a:spcBef>
              <a:buFont typeface="Arial" panose="020B0604020202020204" pitchFamily="34" charset="0"/>
              <a:buChar char="•"/>
            </a:pPr>
            <a:r>
              <a:rPr lang="en-US" dirty="0" smtClean="0">
                <a:latin typeface="+mj-lt"/>
              </a:rPr>
              <a:t>Accuracy, AUC, F1 and more</a:t>
            </a:r>
          </a:p>
          <a:p>
            <a:pPr marL="574675" lvl="2" indent="-342900">
              <a:spcBef>
                <a:spcPts val="1200"/>
              </a:spcBef>
              <a:buFont typeface="Arial" panose="020B0604020202020204" pitchFamily="34" charset="0"/>
              <a:buChar char="•"/>
            </a:pPr>
            <a:r>
              <a:rPr lang="en-US" dirty="0" smtClean="0">
                <a:latin typeface="+mj-lt"/>
              </a:rPr>
              <a:t>Accuracy measures how well the model correctly identifies buyers and non-buyers</a:t>
            </a:r>
          </a:p>
          <a:p>
            <a:pPr marL="800100" lvl="3" indent="-342900">
              <a:spcBef>
                <a:spcPts val="1200"/>
              </a:spcBef>
              <a:buFont typeface="Arial" panose="020B0604020202020204" pitchFamily="34" charset="0"/>
              <a:buChar char="•"/>
            </a:pPr>
            <a:r>
              <a:rPr lang="en-US" dirty="0" smtClean="0">
                <a:latin typeface="+mj-lt"/>
              </a:rPr>
              <a:t>Because of class imbalance, propensity models should not be evaluated on accuracy</a:t>
            </a:r>
          </a:p>
          <a:p>
            <a:pPr marL="1036638" lvl="4" indent="-342900">
              <a:spcBef>
                <a:spcPts val="1200"/>
              </a:spcBef>
              <a:buFont typeface="Arial" panose="020B0604020202020204" pitchFamily="34" charset="0"/>
              <a:buChar char="•"/>
            </a:pPr>
            <a:r>
              <a:rPr lang="en-US" dirty="0" smtClean="0">
                <a:latin typeface="+mj-lt"/>
              </a:rPr>
              <a:t>Most of the records represent non-buyers. A model could simply always predict 0 for non-buyer and be right 90% of the time!</a:t>
            </a:r>
          </a:p>
          <a:p>
            <a:pPr marL="1036638" lvl="4" indent="-342900">
              <a:spcBef>
                <a:spcPts val="1200"/>
              </a:spcBef>
              <a:buFont typeface="Arial" panose="020B0604020202020204" pitchFamily="34" charset="0"/>
              <a:buChar char="•"/>
            </a:pPr>
            <a:r>
              <a:rPr lang="en-US" b="1" dirty="0" smtClean="0">
                <a:latin typeface="+mj-lt"/>
              </a:rPr>
              <a:t>A</a:t>
            </a:r>
            <a:r>
              <a:rPr lang="en-US" dirty="0" smtClean="0">
                <a:latin typeface="+mj-lt"/>
              </a:rPr>
              <a:t>rea </a:t>
            </a:r>
            <a:r>
              <a:rPr lang="en-US" b="1" dirty="0" smtClean="0">
                <a:latin typeface="+mj-lt"/>
              </a:rPr>
              <a:t>U</a:t>
            </a:r>
            <a:r>
              <a:rPr lang="en-US" dirty="0" smtClean="0">
                <a:latin typeface="+mj-lt"/>
              </a:rPr>
              <a:t>nder the </a:t>
            </a:r>
            <a:r>
              <a:rPr lang="en-US" b="1" dirty="0" smtClean="0">
                <a:latin typeface="+mj-lt"/>
              </a:rPr>
              <a:t>C</a:t>
            </a:r>
            <a:r>
              <a:rPr lang="en-US" dirty="0" smtClean="0">
                <a:latin typeface="+mj-lt"/>
              </a:rPr>
              <a:t>urve (AUC) and F1 are much better metrics when the data is imbalanced</a:t>
            </a:r>
          </a:p>
        </p:txBody>
      </p:sp>
      <p:sp>
        <p:nvSpPr>
          <p:cNvPr id="3" name="Title 2"/>
          <p:cNvSpPr>
            <a:spLocks noGrp="1"/>
          </p:cNvSpPr>
          <p:nvPr>
            <p:ph type="title"/>
          </p:nvPr>
        </p:nvSpPr>
        <p:spPr/>
        <p:txBody>
          <a:bodyPr/>
          <a:lstStyle/>
          <a:p>
            <a:r>
              <a:rPr lang="en-US" dirty="0" err="1" smtClean="0"/>
              <a:t>AzureML</a:t>
            </a:r>
            <a:r>
              <a:rPr lang="en-US" dirty="0" smtClean="0"/>
              <a:t> – Propensity Model Demo</a:t>
            </a:r>
            <a:endParaRPr lang="en-US" dirty="0"/>
          </a:p>
        </p:txBody>
      </p:sp>
      <p:sp>
        <p:nvSpPr>
          <p:cNvPr id="4" name="Footer Placeholder 3"/>
          <p:cNvSpPr>
            <a:spLocks noGrp="1"/>
          </p:cNvSpPr>
          <p:nvPr>
            <p:ph type="ftr" sz="quarter" idx="3"/>
          </p:nvPr>
        </p:nvSpPr>
        <p:spPr/>
        <p:txBody>
          <a:bodyPr/>
          <a:lstStyle/>
          <a:p>
            <a:r>
              <a:rPr lang="en-US" smtClean="0"/>
              <a:t>Confidential</a:t>
            </a:r>
            <a:endParaRPr lang="en-US"/>
          </a:p>
        </p:txBody>
      </p:sp>
      <p:sp>
        <p:nvSpPr>
          <p:cNvPr id="5" name="Slide Number Placeholder 4"/>
          <p:cNvSpPr>
            <a:spLocks noGrp="1"/>
          </p:cNvSpPr>
          <p:nvPr>
            <p:ph type="sldNum" sz="quarter" idx="4"/>
          </p:nvPr>
        </p:nvSpPr>
        <p:spPr/>
        <p:txBody>
          <a:bodyPr/>
          <a:lstStyle/>
          <a:p>
            <a:pPr defTabSz="914363"/>
            <a:fld id="{727B4C2D-45E2-4621-8491-2995EB46A674}" type="slidenum">
              <a:rPr lang="en-US" smtClean="0"/>
              <a:pPr defTabSz="914363"/>
              <a:t>14</a:t>
            </a:fld>
            <a:endParaRPr lang="en-US"/>
          </a:p>
        </p:txBody>
      </p:sp>
    </p:spTree>
    <p:extLst>
      <p:ext uri="{BB962C8B-B14F-4D97-AF65-F5344CB8AC3E}">
        <p14:creationId xmlns:p14="http://schemas.microsoft.com/office/powerpoint/2010/main" val="2499142454"/>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19248" y="1447799"/>
            <a:ext cx="11151917" cy="1231106"/>
          </a:xfrm>
        </p:spPr>
        <p:txBody>
          <a:bodyPr/>
          <a:lstStyle/>
          <a:p>
            <a:r>
              <a:rPr lang="en-US" sz="2000" dirty="0" smtClean="0"/>
              <a:t>Model Results</a:t>
            </a:r>
          </a:p>
          <a:p>
            <a:endParaRPr lang="en-US" dirty="0" smtClean="0">
              <a:latin typeface="+mj-lt"/>
            </a:endParaRPr>
          </a:p>
        </p:txBody>
      </p:sp>
      <p:sp>
        <p:nvSpPr>
          <p:cNvPr id="3" name="Title 2"/>
          <p:cNvSpPr>
            <a:spLocks noGrp="1"/>
          </p:cNvSpPr>
          <p:nvPr>
            <p:ph type="title"/>
          </p:nvPr>
        </p:nvSpPr>
        <p:spPr/>
        <p:txBody>
          <a:bodyPr/>
          <a:lstStyle/>
          <a:p>
            <a:r>
              <a:rPr lang="en-US" dirty="0" err="1" smtClean="0"/>
              <a:t>AzureML</a:t>
            </a:r>
            <a:r>
              <a:rPr lang="en-US" dirty="0" smtClean="0"/>
              <a:t> – Propensity Model Demo</a:t>
            </a:r>
            <a:endParaRPr lang="en-US" dirty="0"/>
          </a:p>
        </p:txBody>
      </p:sp>
      <p:sp>
        <p:nvSpPr>
          <p:cNvPr id="4" name="Footer Placeholder 3"/>
          <p:cNvSpPr>
            <a:spLocks noGrp="1"/>
          </p:cNvSpPr>
          <p:nvPr>
            <p:ph type="ftr" sz="quarter" idx="3"/>
          </p:nvPr>
        </p:nvSpPr>
        <p:spPr/>
        <p:txBody>
          <a:bodyPr/>
          <a:lstStyle/>
          <a:p>
            <a:r>
              <a:rPr lang="en-US" smtClean="0"/>
              <a:t>Confidential</a:t>
            </a:r>
            <a:endParaRPr lang="en-US"/>
          </a:p>
        </p:txBody>
      </p:sp>
      <p:sp>
        <p:nvSpPr>
          <p:cNvPr id="5" name="Slide Number Placeholder 4"/>
          <p:cNvSpPr>
            <a:spLocks noGrp="1"/>
          </p:cNvSpPr>
          <p:nvPr>
            <p:ph type="sldNum" sz="quarter" idx="4"/>
          </p:nvPr>
        </p:nvSpPr>
        <p:spPr/>
        <p:txBody>
          <a:bodyPr/>
          <a:lstStyle/>
          <a:p>
            <a:pPr defTabSz="914363"/>
            <a:fld id="{727B4C2D-45E2-4621-8491-2995EB46A674}" type="slidenum">
              <a:rPr lang="en-US" smtClean="0"/>
              <a:pPr defTabSz="914363"/>
              <a:t>15</a:t>
            </a:fld>
            <a:endParaRPr lang="en-US"/>
          </a:p>
        </p:txBody>
      </p:sp>
      <p:graphicFrame>
        <p:nvGraphicFramePr>
          <p:cNvPr id="6" name="Table 5"/>
          <p:cNvGraphicFramePr>
            <a:graphicFrameLocks noGrp="1"/>
          </p:cNvGraphicFramePr>
          <p:nvPr>
            <p:extLst>
              <p:ext uri="{D42A27DB-BD31-4B8C-83A1-F6EECF244321}">
                <p14:modId xmlns:p14="http://schemas.microsoft.com/office/powerpoint/2010/main" val="2859654299"/>
              </p:ext>
            </p:extLst>
          </p:nvPr>
        </p:nvGraphicFramePr>
        <p:xfrm>
          <a:off x="1584770" y="2517204"/>
          <a:ext cx="8574438" cy="2357120"/>
        </p:xfrm>
        <a:graphic>
          <a:graphicData uri="http://schemas.openxmlformats.org/drawingml/2006/table">
            <a:tbl>
              <a:tblPr firstRow="1" bandRow="1">
                <a:tableStyleId>{5C22544A-7EE6-4342-B048-85BDC9FD1C3A}</a:tableStyleId>
              </a:tblPr>
              <a:tblGrid>
                <a:gridCol w="1861815">
                  <a:extLst>
                    <a:ext uri="{9D8B030D-6E8A-4147-A177-3AD203B41FA5}">
                      <a16:colId xmlns:a16="http://schemas.microsoft.com/office/drawing/2014/main" val="1987808284"/>
                    </a:ext>
                  </a:extLst>
                </a:gridCol>
                <a:gridCol w="1836615">
                  <a:extLst>
                    <a:ext uri="{9D8B030D-6E8A-4147-A177-3AD203B41FA5}">
                      <a16:colId xmlns:a16="http://schemas.microsoft.com/office/drawing/2014/main" val="526498499"/>
                    </a:ext>
                  </a:extLst>
                </a:gridCol>
                <a:gridCol w="1266092">
                  <a:extLst>
                    <a:ext uri="{9D8B030D-6E8A-4147-A177-3AD203B41FA5}">
                      <a16:colId xmlns:a16="http://schemas.microsoft.com/office/drawing/2014/main" val="2641922406"/>
                    </a:ext>
                  </a:extLst>
                </a:gridCol>
                <a:gridCol w="1320800">
                  <a:extLst>
                    <a:ext uri="{9D8B030D-6E8A-4147-A177-3AD203B41FA5}">
                      <a16:colId xmlns:a16="http://schemas.microsoft.com/office/drawing/2014/main" val="2473199883"/>
                    </a:ext>
                  </a:extLst>
                </a:gridCol>
                <a:gridCol w="1180123">
                  <a:extLst>
                    <a:ext uri="{9D8B030D-6E8A-4147-A177-3AD203B41FA5}">
                      <a16:colId xmlns:a16="http://schemas.microsoft.com/office/drawing/2014/main" val="2332665008"/>
                    </a:ext>
                  </a:extLst>
                </a:gridCol>
                <a:gridCol w="1108993">
                  <a:extLst>
                    <a:ext uri="{9D8B030D-6E8A-4147-A177-3AD203B41FA5}">
                      <a16:colId xmlns:a16="http://schemas.microsoft.com/office/drawing/2014/main" val="1590513121"/>
                    </a:ext>
                  </a:extLst>
                </a:gridCol>
              </a:tblGrid>
              <a:tr h="370840">
                <a:tc>
                  <a:txBody>
                    <a:bodyPr/>
                    <a:lstStyle/>
                    <a:p>
                      <a:r>
                        <a:rPr lang="en-US" dirty="0" smtClean="0"/>
                        <a:t>Model</a:t>
                      </a:r>
                      <a:endParaRPr lang="en-US" dirty="0"/>
                    </a:p>
                  </a:txBody>
                  <a:tcPr/>
                </a:tc>
                <a:tc>
                  <a:txBody>
                    <a:bodyPr/>
                    <a:lstStyle/>
                    <a:p>
                      <a:pPr algn="ctr"/>
                      <a:r>
                        <a:rPr lang="en-US" dirty="0" smtClean="0"/>
                        <a:t>Data Split</a:t>
                      </a:r>
                      <a:endParaRPr lang="en-US" dirty="0"/>
                    </a:p>
                  </a:txBody>
                  <a:tcPr/>
                </a:tc>
                <a:tc>
                  <a:txBody>
                    <a:bodyPr/>
                    <a:lstStyle/>
                    <a:p>
                      <a:pPr algn="ctr"/>
                      <a:r>
                        <a:rPr lang="en-US" dirty="0" smtClean="0"/>
                        <a:t>Feature Selection</a:t>
                      </a:r>
                      <a:endParaRPr lang="en-US" dirty="0"/>
                    </a:p>
                  </a:txBody>
                  <a:tcPr/>
                </a:tc>
                <a:tc>
                  <a:txBody>
                    <a:bodyPr/>
                    <a:lstStyle/>
                    <a:p>
                      <a:pPr algn="ctr"/>
                      <a:r>
                        <a:rPr lang="en-US" dirty="0" smtClean="0"/>
                        <a:t>Accuracy</a:t>
                      </a:r>
                      <a:endParaRPr lang="en-US" dirty="0"/>
                    </a:p>
                  </a:txBody>
                  <a:tcPr/>
                </a:tc>
                <a:tc>
                  <a:txBody>
                    <a:bodyPr/>
                    <a:lstStyle/>
                    <a:p>
                      <a:pPr algn="ctr"/>
                      <a:r>
                        <a:rPr lang="en-US" dirty="0" smtClean="0"/>
                        <a:t>AUC</a:t>
                      </a:r>
                      <a:endParaRPr lang="en-US" dirty="0"/>
                    </a:p>
                  </a:txBody>
                  <a:tcPr/>
                </a:tc>
                <a:tc>
                  <a:txBody>
                    <a:bodyPr/>
                    <a:lstStyle/>
                    <a:p>
                      <a:pPr algn="ctr"/>
                      <a:r>
                        <a:rPr lang="en-US" dirty="0" smtClean="0"/>
                        <a:t>F1</a:t>
                      </a:r>
                      <a:endParaRPr lang="en-US" dirty="0"/>
                    </a:p>
                  </a:txBody>
                  <a:tcPr/>
                </a:tc>
                <a:extLst>
                  <a:ext uri="{0D108BD9-81ED-4DB2-BD59-A6C34878D82A}">
                    <a16:rowId xmlns:a16="http://schemas.microsoft.com/office/drawing/2014/main" val="2690581237"/>
                  </a:ext>
                </a:extLst>
              </a:tr>
              <a:tr h="370840">
                <a:tc>
                  <a:txBody>
                    <a:bodyPr/>
                    <a:lstStyle/>
                    <a:p>
                      <a:r>
                        <a:rPr lang="en-US" dirty="0" smtClean="0"/>
                        <a:t>Boosted Tree</a:t>
                      </a:r>
                      <a:endParaRPr lang="en-US" dirty="0"/>
                    </a:p>
                  </a:txBody>
                  <a:tcPr/>
                </a:tc>
                <a:tc>
                  <a:txBody>
                    <a:bodyPr/>
                    <a:lstStyle/>
                    <a:p>
                      <a:pPr algn="ctr"/>
                      <a:r>
                        <a:rPr lang="en-US" dirty="0" smtClean="0"/>
                        <a:t>Split</a:t>
                      </a:r>
                      <a:endParaRPr lang="en-US" dirty="0"/>
                    </a:p>
                  </a:txBody>
                  <a:tcPr/>
                </a:tc>
                <a:tc>
                  <a:txBody>
                    <a:bodyPr/>
                    <a:lstStyle/>
                    <a:p>
                      <a:pPr algn="ctr"/>
                      <a:r>
                        <a:rPr lang="en-US" sz="2800" dirty="0" smtClean="0">
                          <a:sym typeface="Wingdings" panose="05000000000000000000" pitchFamily="2" charset="2"/>
                        </a:rPr>
                        <a:t></a:t>
                      </a:r>
                      <a:endParaRPr lang="en-US" sz="2800" dirty="0"/>
                    </a:p>
                  </a:txBody>
                  <a:tcPr/>
                </a:tc>
                <a:tc>
                  <a:txBody>
                    <a:bodyPr/>
                    <a:lstStyle/>
                    <a:p>
                      <a:pPr algn="ctr"/>
                      <a:r>
                        <a:rPr lang="en-US" dirty="0" smtClean="0"/>
                        <a:t>91.9%</a:t>
                      </a:r>
                      <a:endParaRPr lang="en-US" dirty="0"/>
                    </a:p>
                  </a:txBody>
                  <a:tcPr/>
                </a:tc>
                <a:tc>
                  <a:txBody>
                    <a:bodyPr/>
                    <a:lstStyle/>
                    <a:p>
                      <a:pPr algn="ctr"/>
                      <a:r>
                        <a:rPr lang="en-US" dirty="0" smtClean="0"/>
                        <a:t>79.4%</a:t>
                      </a:r>
                      <a:endParaRPr lang="en-US" dirty="0"/>
                    </a:p>
                  </a:txBody>
                  <a:tcPr/>
                </a:tc>
                <a:tc>
                  <a:txBody>
                    <a:bodyPr/>
                    <a:lstStyle/>
                    <a:p>
                      <a:pPr algn="ctr"/>
                      <a:r>
                        <a:rPr lang="en-US" dirty="0" smtClean="0"/>
                        <a:t>0.432</a:t>
                      </a:r>
                      <a:endParaRPr lang="en-US" dirty="0"/>
                    </a:p>
                  </a:txBody>
                  <a:tcPr/>
                </a:tc>
                <a:extLst>
                  <a:ext uri="{0D108BD9-81ED-4DB2-BD59-A6C34878D82A}">
                    <a16:rowId xmlns:a16="http://schemas.microsoft.com/office/drawing/2014/main" val="2375847844"/>
                  </a:ext>
                </a:extLst>
              </a:tr>
              <a:tr h="370840">
                <a:tc>
                  <a:txBody>
                    <a:bodyPr/>
                    <a:lstStyle/>
                    <a:p>
                      <a:r>
                        <a:rPr lang="en-US" b="1" dirty="0" smtClean="0"/>
                        <a:t>Boosted Tree</a:t>
                      </a:r>
                      <a:endParaRPr lang="en-US" b="1" dirty="0"/>
                    </a:p>
                  </a:txBody>
                  <a:tcPr/>
                </a:tc>
                <a:tc>
                  <a:txBody>
                    <a:bodyPr/>
                    <a:lstStyle/>
                    <a:p>
                      <a:pPr algn="ctr"/>
                      <a:r>
                        <a:rPr lang="en-US" b="1" dirty="0" smtClean="0"/>
                        <a:t>Split</a:t>
                      </a:r>
                      <a:endParaRPr lang="en-US" b="1" dirty="0"/>
                    </a:p>
                  </a:txBody>
                  <a:tcPr/>
                </a:tc>
                <a:tc>
                  <a:txBody>
                    <a:bodyPr/>
                    <a:lstStyle/>
                    <a:p>
                      <a:pPr algn="ctr"/>
                      <a:endParaRPr lang="en-US" sz="2400" b="1" i="1" dirty="0"/>
                    </a:p>
                  </a:txBody>
                  <a:tcPr/>
                </a:tc>
                <a:tc>
                  <a:txBody>
                    <a:bodyPr/>
                    <a:lstStyle/>
                    <a:p>
                      <a:pPr algn="ctr"/>
                      <a:r>
                        <a:rPr lang="en-US" b="1" dirty="0" smtClean="0"/>
                        <a:t>92.3%</a:t>
                      </a:r>
                      <a:endParaRPr lang="en-US" b="1" dirty="0"/>
                    </a:p>
                  </a:txBody>
                  <a:tcPr/>
                </a:tc>
                <a:tc>
                  <a:txBody>
                    <a:bodyPr/>
                    <a:lstStyle/>
                    <a:p>
                      <a:pPr algn="ctr"/>
                      <a:r>
                        <a:rPr lang="en-US" b="1" dirty="0" smtClean="0"/>
                        <a:t>85.3%</a:t>
                      </a:r>
                      <a:endParaRPr lang="en-US" b="1" dirty="0"/>
                    </a:p>
                  </a:txBody>
                  <a:tcPr/>
                </a:tc>
                <a:tc>
                  <a:txBody>
                    <a:bodyPr/>
                    <a:lstStyle/>
                    <a:p>
                      <a:pPr algn="ctr"/>
                      <a:r>
                        <a:rPr lang="en-US" b="1" dirty="0" smtClean="0"/>
                        <a:t>0.481</a:t>
                      </a:r>
                      <a:endParaRPr lang="en-US" b="1" dirty="0"/>
                    </a:p>
                  </a:txBody>
                  <a:tcPr/>
                </a:tc>
                <a:extLst>
                  <a:ext uri="{0D108BD9-81ED-4DB2-BD59-A6C34878D82A}">
                    <a16:rowId xmlns:a16="http://schemas.microsoft.com/office/drawing/2014/main" val="2924785889"/>
                  </a:ext>
                </a:extLst>
              </a:tr>
              <a:tr h="370840">
                <a:tc>
                  <a:txBody>
                    <a:bodyPr/>
                    <a:lstStyle/>
                    <a:p>
                      <a:r>
                        <a:rPr lang="en-US" dirty="0" smtClean="0"/>
                        <a:t>Boosted Tree</a:t>
                      </a:r>
                      <a:endParaRPr lang="en-US" dirty="0"/>
                    </a:p>
                  </a:txBody>
                  <a:tcPr/>
                </a:tc>
                <a:tc>
                  <a:txBody>
                    <a:bodyPr/>
                    <a:lstStyle/>
                    <a:p>
                      <a:pPr algn="ctr"/>
                      <a:r>
                        <a:rPr lang="en-US" dirty="0" smtClean="0"/>
                        <a:t>Cross Validated</a:t>
                      </a:r>
                      <a:endParaRPr lang="en-US" dirty="0"/>
                    </a:p>
                  </a:txBody>
                  <a:tcPr/>
                </a:tc>
                <a:tc>
                  <a:txBody>
                    <a:bodyPr/>
                    <a:lstStyle/>
                    <a:p>
                      <a:pPr algn="ctr"/>
                      <a:endParaRPr lang="en-US" dirty="0"/>
                    </a:p>
                  </a:txBody>
                  <a:tcPr/>
                </a:tc>
                <a:tc>
                  <a:txBody>
                    <a:bodyPr/>
                    <a:lstStyle/>
                    <a:p>
                      <a:pPr algn="ctr"/>
                      <a:r>
                        <a:rPr lang="en-US" dirty="0" smtClean="0"/>
                        <a:t>90.8%</a:t>
                      </a:r>
                      <a:endParaRPr lang="en-US" dirty="0"/>
                    </a:p>
                  </a:txBody>
                  <a:tcPr/>
                </a:tc>
                <a:tc>
                  <a:txBody>
                    <a:bodyPr/>
                    <a:lstStyle/>
                    <a:p>
                      <a:pPr algn="ctr"/>
                      <a:r>
                        <a:rPr lang="en-US" dirty="0" smtClean="0"/>
                        <a:t>83.8%</a:t>
                      </a:r>
                      <a:endParaRPr lang="en-US" dirty="0"/>
                    </a:p>
                  </a:txBody>
                  <a:tcPr/>
                </a:tc>
                <a:tc>
                  <a:txBody>
                    <a:bodyPr/>
                    <a:lstStyle/>
                    <a:p>
                      <a:pPr algn="ctr"/>
                      <a:r>
                        <a:rPr lang="en-US" dirty="0" smtClean="0"/>
                        <a:t>0.454</a:t>
                      </a:r>
                      <a:endParaRPr lang="en-US" dirty="0"/>
                    </a:p>
                  </a:txBody>
                  <a:tcPr/>
                </a:tc>
                <a:extLst>
                  <a:ext uri="{0D108BD9-81ED-4DB2-BD59-A6C34878D82A}">
                    <a16:rowId xmlns:a16="http://schemas.microsoft.com/office/drawing/2014/main" val="3111614340"/>
                  </a:ext>
                </a:extLst>
              </a:tr>
              <a:tr h="370840">
                <a:tc>
                  <a:txBody>
                    <a:bodyPr/>
                    <a:lstStyle/>
                    <a:p>
                      <a:r>
                        <a:rPr lang="en-US" dirty="0" smtClean="0"/>
                        <a:t>Logistic</a:t>
                      </a:r>
                      <a:endParaRPr lang="en-US" dirty="0"/>
                    </a:p>
                  </a:txBody>
                  <a:tcPr/>
                </a:tc>
                <a:tc>
                  <a:txBody>
                    <a:bodyPr/>
                    <a:lstStyle/>
                    <a:p>
                      <a:pPr algn="ctr"/>
                      <a:r>
                        <a:rPr lang="en-US" dirty="0" smtClean="0"/>
                        <a:t>Split</a:t>
                      </a:r>
                      <a:endParaRPr lang="en-US" dirty="0"/>
                    </a:p>
                  </a:txBody>
                  <a:tcPr/>
                </a:tc>
                <a:tc>
                  <a:txBody>
                    <a:bodyPr/>
                    <a:lstStyle/>
                    <a:p>
                      <a:pPr algn="ctr"/>
                      <a:endParaRPr lang="en-US"/>
                    </a:p>
                  </a:txBody>
                  <a:tcPr/>
                </a:tc>
                <a:tc>
                  <a:txBody>
                    <a:bodyPr/>
                    <a:lstStyle/>
                    <a:p>
                      <a:pPr algn="ctr"/>
                      <a:r>
                        <a:rPr lang="en-US" dirty="0" smtClean="0"/>
                        <a:t>91.4%</a:t>
                      </a:r>
                      <a:endParaRPr lang="en-US" dirty="0"/>
                    </a:p>
                  </a:txBody>
                  <a:tcPr/>
                </a:tc>
                <a:tc>
                  <a:txBody>
                    <a:bodyPr/>
                    <a:lstStyle/>
                    <a:p>
                      <a:pPr algn="ctr"/>
                      <a:r>
                        <a:rPr lang="en-US" dirty="0" smtClean="0"/>
                        <a:t>67.7%</a:t>
                      </a:r>
                      <a:endParaRPr lang="en-US" dirty="0"/>
                    </a:p>
                  </a:txBody>
                  <a:tcPr/>
                </a:tc>
                <a:tc>
                  <a:txBody>
                    <a:bodyPr/>
                    <a:lstStyle/>
                    <a:p>
                      <a:pPr algn="ctr"/>
                      <a:r>
                        <a:rPr lang="en-US" dirty="0" smtClean="0"/>
                        <a:t>0.032</a:t>
                      </a:r>
                      <a:endParaRPr lang="en-US" dirty="0"/>
                    </a:p>
                  </a:txBody>
                  <a:tcPr/>
                </a:tc>
                <a:extLst>
                  <a:ext uri="{0D108BD9-81ED-4DB2-BD59-A6C34878D82A}">
                    <a16:rowId xmlns:a16="http://schemas.microsoft.com/office/drawing/2014/main" val="1279128850"/>
                  </a:ext>
                </a:extLst>
              </a:tr>
            </a:tbl>
          </a:graphicData>
        </a:graphic>
      </p:graphicFrame>
    </p:spTree>
    <p:extLst>
      <p:ext uri="{BB962C8B-B14F-4D97-AF65-F5344CB8AC3E}">
        <p14:creationId xmlns:p14="http://schemas.microsoft.com/office/powerpoint/2010/main" val="3163516101"/>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Text Placeholder 1"/>
              <p:cNvSpPr>
                <a:spLocks noGrp="1"/>
              </p:cNvSpPr>
              <p:nvPr>
                <p:ph type="body" sz="quarter" idx="10"/>
              </p:nvPr>
            </p:nvSpPr>
            <p:spPr>
              <a:xfrm>
                <a:off x="519248" y="1447799"/>
                <a:ext cx="11151917" cy="4318233"/>
              </a:xfrm>
            </p:spPr>
            <p:txBody>
              <a:bodyPr/>
              <a:lstStyle/>
              <a:p>
                <a:r>
                  <a:rPr lang="en-US" sz="2800" dirty="0" smtClean="0"/>
                  <a:t>While is it is widely accepted that churn describes a consumer behavior patter where the stop or reduce using your product or services.</a:t>
                </a:r>
              </a:p>
              <a:p>
                <a:endParaRPr lang="en-US" sz="2800" dirty="0" smtClean="0"/>
              </a:p>
              <a:p>
                <a:pPr/>
                <a14:m>
                  <m:oMathPara xmlns:m="http://schemas.openxmlformats.org/officeDocument/2006/math">
                    <m:oMathParaPr>
                      <m:jc m:val="centerGroup"/>
                    </m:oMathParaPr>
                    <m:oMath xmlns:m="http://schemas.openxmlformats.org/officeDocument/2006/math">
                      <m:f>
                        <m:fPr>
                          <m:ctrlPr>
                            <a:rPr lang="en-US" sz="2800" i="1">
                              <a:latin typeface="Cambria Math" panose="02040503050406030204" pitchFamily="18" charset="0"/>
                            </a:rPr>
                          </m:ctrlPr>
                        </m:fPr>
                        <m:num>
                          <m:r>
                            <a:rPr lang="en-US" sz="2800" i="1">
                              <a:latin typeface="Cambria Math" panose="02040503050406030204" pitchFamily="18" charset="0"/>
                            </a:rPr>
                            <m:t>𝐿𝑜𝑠𝑡</m:t>
                          </m:r>
                          <m:r>
                            <a:rPr lang="en-US" sz="2800" i="1">
                              <a:latin typeface="Cambria Math" panose="02040503050406030204" pitchFamily="18" charset="0"/>
                            </a:rPr>
                            <m:t> </m:t>
                          </m:r>
                          <m:r>
                            <a:rPr lang="en-US" sz="2800" i="1">
                              <a:latin typeface="Cambria Math" panose="02040503050406030204" pitchFamily="18" charset="0"/>
                            </a:rPr>
                            <m:t>𝐶𝑢𝑠𝑡𝑜𝑚𝑒𝑟𝑠</m:t>
                          </m:r>
                        </m:num>
                        <m:den>
                          <m:r>
                            <a:rPr lang="en-US" sz="2800" i="1">
                              <a:latin typeface="Cambria Math" panose="02040503050406030204" pitchFamily="18" charset="0"/>
                            </a:rPr>
                            <m:t>𝑁𝑒𝑤</m:t>
                          </m:r>
                          <m:r>
                            <a:rPr lang="en-US" sz="2800" i="1">
                              <a:latin typeface="Cambria Math" panose="02040503050406030204" pitchFamily="18" charset="0"/>
                            </a:rPr>
                            <m:t> </m:t>
                          </m:r>
                          <m:r>
                            <a:rPr lang="en-US" sz="2800" i="1">
                              <a:latin typeface="Cambria Math" panose="02040503050406030204" pitchFamily="18" charset="0"/>
                            </a:rPr>
                            <m:t>𝐶𝑢𝑠𝑡𝑜𝑚𝑒𝑟𝑠</m:t>
                          </m:r>
                        </m:den>
                      </m:f>
                      <m:r>
                        <a:rPr lang="en-US" sz="2800" i="1">
                          <a:latin typeface="Cambria Math" panose="02040503050406030204" pitchFamily="18" charset="0"/>
                        </a:rPr>
                        <m:t>=% </m:t>
                      </m:r>
                      <m:r>
                        <a:rPr lang="en-US" sz="2800" i="1">
                          <a:latin typeface="Cambria Math" panose="02040503050406030204" pitchFamily="18" charset="0"/>
                        </a:rPr>
                        <m:t>𝐶h𝑢𝑟𝑛</m:t>
                      </m:r>
                    </m:oMath>
                  </m:oMathPara>
                </a14:m>
                <a:endParaRPr lang="en-US" sz="2800" dirty="0"/>
              </a:p>
              <a:p>
                <a:r>
                  <a:rPr lang="en-US" sz="2800" dirty="0" smtClean="0"/>
                  <a:t>How you calculate a lost customer varies from product, service, industry, etc.  It is a term that must be discreetly defined</a:t>
                </a:r>
              </a:p>
              <a:p>
                <a:r>
                  <a:rPr lang="en-US" sz="2800" dirty="0" smtClean="0"/>
                  <a:t>Business problem – new customers cost more than existing customers!</a:t>
                </a:r>
                <a:endParaRPr lang="en-US" sz="3600" dirty="0" smtClean="0">
                  <a:latin typeface="+mj-lt"/>
                </a:endParaRPr>
              </a:p>
            </p:txBody>
          </p:sp>
        </mc:Choice>
        <mc:Fallback xmlns="">
          <p:sp>
            <p:nvSpPr>
              <p:cNvPr id="2" name="Text Placeholder 1"/>
              <p:cNvSpPr>
                <a:spLocks noGrp="1" noRot="1" noChangeAspect="1" noMove="1" noResize="1" noEditPoints="1" noAdjustHandles="1" noChangeArrowheads="1" noChangeShapeType="1" noTextEdit="1"/>
              </p:cNvSpPr>
              <p:nvPr>
                <p:ph type="body" sz="quarter" idx="10"/>
              </p:nvPr>
            </p:nvSpPr>
            <p:spPr>
              <a:xfrm>
                <a:off x="519248" y="1447799"/>
                <a:ext cx="11151917" cy="4318233"/>
              </a:xfrm>
              <a:blipFill>
                <a:blip r:embed="rId3"/>
                <a:stretch>
                  <a:fillRect l="-1913" t="-2398" r="-1202" b="-3949"/>
                </a:stretch>
              </a:blipFill>
            </p:spPr>
            <p:txBody>
              <a:bodyPr/>
              <a:lstStyle/>
              <a:p>
                <a:r>
                  <a:rPr lang="en-US">
                    <a:noFill/>
                  </a:rPr>
                  <a:t> </a:t>
                </a:r>
              </a:p>
            </p:txBody>
          </p:sp>
        </mc:Fallback>
      </mc:AlternateContent>
      <p:sp>
        <p:nvSpPr>
          <p:cNvPr id="3" name="Title 2"/>
          <p:cNvSpPr>
            <a:spLocks noGrp="1"/>
          </p:cNvSpPr>
          <p:nvPr>
            <p:ph type="title"/>
          </p:nvPr>
        </p:nvSpPr>
        <p:spPr/>
        <p:txBody>
          <a:bodyPr/>
          <a:lstStyle/>
          <a:p>
            <a:r>
              <a:rPr lang="en-US" dirty="0" err="1" smtClean="0"/>
              <a:t>AzureML</a:t>
            </a:r>
            <a:r>
              <a:rPr lang="en-US" dirty="0" smtClean="0"/>
              <a:t> – Churn Model Demo</a:t>
            </a:r>
            <a:endParaRPr lang="en-US" dirty="0"/>
          </a:p>
        </p:txBody>
      </p:sp>
      <p:sp>
        <p:nvSpPr>
          <p:cNvPr id="4" name="Footer Placeholder 3"/>
          <p:cNvSpPr>
            <a:spLocks noGrp="1"/>
          </p:cNvSpPr>
          <p:nvPr>
            <p:ph type="ftr" sz="quarter" idx="3"/>
          </p:nvPr>
        </p:nvSpPr>
        <p:spPr/>
        <p:txBody>
          <a:bodyPr/>
          <a:lstStyle/>
          <a:p>
            <a:r>
              <a:rPr lang="en-US" dirty="0" smtClean="0"/>
              <a:t>Confidential</a:t>
            </a:r>
            <a:endParaRPr lang="en-US" dirty="0"/>
          </a:p>
        </p:txBody>
      </p:sp>
      <p:sp>
        <p:nvSpPr>
          <p:cNvPr id="5" name="Slide Number Placeholder 4"/>
          <p:cNvSpPr>
            <a:spLocks noGrp="1"/>
          </p:cNvSpPr>
          <p:nvPr>
            <p:ph type="sldNum" sz="quarter" idx="4"/>
          </p:nvPr>
        </p:nvSpPr>
        <p:spPr/>
        <p:txBody>
          <a:bodyPr/>
          <a:lstStyle/>
          <a:p>
            <a:pPr defTabSz="914363"/>
            <a:fld id="{727B4C2D-45E2-4621-8491-2995EB46A674}" type="slidenum">
              <a:rPr lang="en-US" smtClean="0"/>
              <a:pPr defTabSz="914363"/>
              <a:t>16</a:t>
            </a:fld>
            <a:endParaRPr lang="en-US"/>
          </a:p>
        </p:txBody>
      </p:sp>
    </p:spTree>
    <p:extLst>
      <p:ext uri="{BB962C8B-B14F-4D97-AF65-F5344CB8AC3E}">
        <p14:creationId xmlns:p14="http://schemas.microsoft.com/office/powerpoint/2010/main" val="3281130361"/>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19248" y="1447799"/>
            <a:ext cx="11151917" cy="4370427"/>
          </a:xfrm>
        </p:spPr>
        <p:txBody>
          <a:bodyPr/>
          <a:lstStyle/>
          <a:p>
            <a:pPr marL="571500" indent="-571500">
              <a:buFont typeface="Arial" panose="020B0604020202020204" pitchFamily="34" charset="0"/>
              <a:buChar char="•"/>
            </a:pPr>
            <a:r>
              <a:rPr lang="en-US" sz="3200" dirty="0" smtClean="0"/>
              <a:t>Data selected from 2009 KDD competition</a:t>
            </a:r>
          </a:p>
          <a:p>
            <a:pPr marL="571500" indent="-571500">
              <a:buFont typeface="Arial" panose="020B0604020202020204" pitchFamily="34" charset="0"/>
              <a:buChar char="•"/>
            </a:pPr>
            <a:r>
              <a:rPr lang="en-US" sz="3200" dirty="0" smtClean="0"/>
              <a:t>The data was collected from a telecommunications company, Orange in France.</a:t>
            </a:r>
          </a:p>
          <a:p>
            <a:pPr marL="571500" indent="-571500">
              <a:buFont typeface="Arial" panose="020B0604020202020204" pitchFamily="34" charset="0"/>
              <a:buChar char="•"/>
            </a:pPr>
            <a:r>
              <a:rPr lang="en-US" sz="3200" dirty="0" smtClean="0"/>
              <a:t>The goal is to build an effective machine learning model for predicting churn, willingness to buy new products/services and opportunities for upselling.</a:t>
            </a:r>
          </a:p>
          <a:p>
            <a:pPr marL="571500" indent="-571500">
              <a:buFont typeface="Arial" panose="020B0604020202020204" pitchFamily="34" charset="0"/>
              <a:buChar char="•"/>
            </a:pPr>
            <a:r>
              <a:rPr lang="en-US" sz="3200" dirty="0" smtClean="0"/>
              <a:t>In this exercise we focus on customer churn.</a:t>
            </a:r>
            <a:endParaRPr lang="en-US" sz="3200" dirty="0"/>
          </a:p>
        </p:txBody>
      </p:sp>
      <p:sp>
        <p:nvSpPr>
          <p:cNvPr id="3" name="Title 2"/>
          <p:cNvSpPr>
            <a:spLocks noGrp="1"/>
          </p:cNvSpPr>
          <p:nvPr>
            <p:ph type="title"/>
          </p:nvPr>
        </p:nvSpPr>
        <p:spPr/>
        <p:txBody>
          <a:bodyPr/>
          <a:lstStyle/>
          <a:p>
            <a:r>
              <a:rPr lang="en-US" dirty="0" smtClean="0"/>
              <a:t>Churn Model – Use Case</a:t>
            </a:r>
            <a:endParaRPr lang="en-US" dirty="0"/>
          </a:p>
        </p:txBody>
      </p:sp>
      <p:sp>
        <p:nvSpPr>
          <p:cNvPr id="4" name="Footer Placeholder 3"/>
          <p:cNvSpPr>
            <a:spLocks noGrp="1"/>
          </p:cNvSpPr>
          <p:nvPr>
            <p:ph type="ftr" sz="quarter" idx="3"/>
          </p:nvPr>
        </p:nvSpPr>
        <p:spPr/>
        <p:txBody>
          <a:bodyPr/>
          <a:lstStyle/>
          <a:p>
            <a:r>
              <a:rPr lang="en-US" smtClean="0"/>
              <a:t>Confidential</a:t>
            </a:r>
            <a:endParaRPr lang="en-US"/>
          </a:p>
        </p:txBody>
      </p:sp>
      <p:sp>
        <p:nvSpPr>
          <p:cNvPr id="5" name="Slide Number Placeholder 4"/>
          <p:cNvSpPr>
            <a:spLocks noGrp="1"/>
          </p:cNvSpPr>
          <p:nvPr>
            <p:ph type="sldNum" sz="quarter" idx="4"/>
          </p:nvPr>
        </p:nvSpPr>
        <p:spPr/>
        <p:txBody>
          <a:bodyPr/>
          <a:lstStyle/>
          <a:p>
            <a:pPr defTabSz="914363"/>
            <a:fld id="{727B4C2D-45E2-4621-8491-2995EB46A674}" type="slidenum">
              <a:rPr lang="en-US" smtClean="0"/>
              <a:pPr defTabSz="914363"/>
              <a:t>17</a:t>
            </a:fld>
            <a:endParaRPr lang="en-US"/>
          </a:p>
        </p:txBody>
      </p:sp>
    </p:spTree>
    <p:extLst>
      <p:ext uri="{BB962C8B-B14F-4D97-AF65-F5344CB8AC3E}">
        <p14:creationId xmlns:p14="http://schemas.microsoft.com/office/powerpoint/2010/main" val="3991025462"/>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19248" y="1447799"/>
            <a:ext cx="11151917" cy="4616648"/>
          </a:xfrm>
        </p:spPr>
        <p:txBody>
          <a:bodyPr/>
          <a:lstStyle/>
          <a:p>
            <a:r>
              <a:rPr lang="en-US" sz="2400" dirty="0" smtClean="0"/>
              <a:t>Data Engineering</a:t>
            </a:r>
          </a:p>
          <a:p>
            <a:pPr marL="571500" indent="-571500">
              <a:spcBef>
                <a:spcPts val="1200"/>
              </a:spcBef>
              <a:buFont typeface="Arial" panose="020B0604020202020204" pitchFamily="34" charset="0"/>
              <a:buChar char="•"/>
            </a:pPr>
            <a:r>
              <a:rPr lang="en-US" sz="1800" dirty="0" smtClean="0"/>
              <a:t>Columns 1-190 are numeric, the rest are categorical. </a:t>
            </a:r>
            <a:endParaRPr lang="en-US" sz="1800" dirty="0"/>
          </a:p>
          <a:p>
            <a:pPr marL="803275" lvl="2" indent="-571500">
              <a:spcBef>
                <a:spcPts val="1200"/>
              </a:spcBef>
              <a:buFont typeface="Arial" panose="020B0604020202020204" pitchFamily="34" charset="0"/>
              <a:buChar char="•"/>
            </a:pPr>
            <a:r>
              <a:rPr lang="en-US" sz="1800" dirty="0" smtClean="0">
                <a:latin typeface="+mj-lt"/>
              </a:rPr>
              <a:t>S</a:t>
            </a:r>
            <a:r>
              <a:rPr lang="en-US" sz="1600" dirty="0" smtClean="0">
                <a:latin typeface="+mj-lt"/>
              </a:rPr>
              <a:t>plit the data between numeric and categorical</a:t>
            </a:r>
          </a:p>
          <a:p>
            <a:pPr marL="803275" lvl="2" indent="-571500">
              <a:spcBef>
                <a:spcPts val="1200"/>
              </a:spcBef>
              <a:buFont typeface="Arial" panose="020B0604020202020204" pitchFamily="34" charset="0"/>
              <a:buChar char="•"/>
            </a:pPr>
            <a:r>
              <a:rPr lang="en-US" sz="1600" dirty="0" smtClean="0">
                <a:latin typeface="+mj-lt"/>
              </a:rPr>
              <a:t>Remove numerical variables that are all or nearly all 0s (added a branch showing how to do this in R)</a:t>
            </a:r>
          </a:p>
          <a:p>
            <a:pPr marL="803275" lvl="2" indent="-571500">
              <a:spcBef>
                <a:spcPts val="1200"/>
              </a:spcBef>
              <a:buFont typeface="Arial" panose="020B0604020202020204" pitchFamily="34" charset="0"/>
              <a:buChar char="•"/>
            </a:pPr>
            <a:r>
              <a:rPr lang="en-US" sz="1600" dirty="0" smtClean="0">
                <a:latin typeface="+mj-lt"/>
              </a:rPr>
              <a:t>Apply a Math operation to add +1 to each numeric variable</a:t>
            </a:r>
          </a:p>
          <a:p>
            <a:pPr marL="1028700" lvl="3" indent="-571500">
              <a:spcBef>
                <a:spcPts val="1200"/>
              </a:spcBef>
              <a:buFont typeface="Arial" panose="020B0604020202020204" pitchFamily="34" charset="0"/>
              <a:buChar char="•"/>
            </a:pPr>
            <a:r>
              <a:rPr lang="en-US" sz="1600" dirty="0" smtClean="0">
                <a:latin typeface="+mj-lt"/>
              </a:rPr>
              <a:t>Allows you to distinguish between a 0 in the data source vs. the substitution value of 0 when the missing data substitution is made later.</a:t>
            </a:r>
          </a:p>
          <a:p>
            <a:pPr marL="803275" lvl="2" indent="-571500">
              <a:spcBef>
                <a:spcPts val="1200"/>
              </a:spcBef>
              <a:buFont typeface="Arial" panose="020B0604020202020204" pitchFamily="34" charset="0"/>
              <a:buChar char="•"/>
            </a:pPr>
            <a:r>
              <a:rPr lang="en-US" sz="1800" dirty="0" smtClean="0">
                <a:latin typeface="+mj-lt"/>
              </a:rPr>
              <a:t>Apply the Clean Missing Data module to sub 0 for all missing numeric values</a:t>
            </a:r>
          </a:p>
          <a:p>
            <a:pPr marL="803275" lvl="2" indent="-571500">
              <a:spcBef>
                <a:spcPts val="1200"/>
              </a:spcBef>
              <a:buFont typeface="Arial" panose="020B0604020202020204" pitchFamily="34" charset="0"/>
              <a:buChar char="•"/>
            </a:pPr>
            <a:r>
              <a:rPr lang="en-US" sz="1800" dirty="0" smtClean="0">
                <a:latin typeface="+mj-lt"/>
              </a:rPr>
              <a:t>Bin the numeric column variable values into 50 equally spaced bins</a:t>
            </a:r>
          </a:p>
          <a:p>
            <a:pPr marL="1028700" lvl="3" indent="-571500">
              <a:spcBef>
                <a:spcPts val="1200"/>
              </a:spcBef>
              <a:buFont typeface="Arial" panose="020B0604020202020204" pitchFamily="34" charset="0"/>
              <a:buChar char="•"/>
            </a:pPr>
            <a:r>
              <a:rPr lang="en-US" sz="1600" dirty="0" smtClean="0">
                <a:latin typeface="+mj-lt"/>
              </a:rPr>
              <a:t>This sometimes helps the accuracy of machine learning algorithms – always experiment to determine the best way to proceed!</a:t>
            </a:r>
          </a:p>
          <a:p>
            <a:pPr marL="571500" lvl="1" indent="-571500">
              <a:spcBef>
                <a:spcPts val="1200"/>
              </a:spcBef>
              <a:buFont typeface="Arial" panose="020B0604020202020204" pitchFamily="34" charset="0"/>
              <a:buChar char="•"/>
            </a:pPr>
            <a:endParaRPr lang="en-US" sz="1800" dirty="0" smtClean="0">
              <a:latin typeface="+mj-lt"/>
            </a:endParaRPr>
          </a:p>
        </p:txBody>
      </p:sp>
      <p:sp>
        <p:nvSpPr>
          <p:cNvPr id="3" name="Title 2"/>
          <p:cNvSpPr>
            <a:spLocks noGrp="1"/>
          </p:cNvSpPr>
          <p:nvPr>
            <p:ph type="title"/>
          </p:nvPr>
        </p:nvSpPr>
        <p:spPr/>
        <p:txBody>
          <a:bodyPr/>
          <a:lstStyle/>
          <a:p>
            <a:r>
              <a:rPr lang="en-US" dirty="0" err="1" smtClean="0"/>
              <a:t>AzureML</a:t>
            </a:r>
            <a:r>
              <a:rPr lang="en-US" dirty="0" smtClean="0"/>
              <a:t> – </a:t>
            </a:r>
            <a:r>
              <a:rPr lang="en-US" dirty="0" err="1" smtClean="0"/>
              <a:t>ChurnDemo</a:t>
            </a:r>
            <a:endParaRPr lang="en-US" dirty="0"/>
          </a:p>
        </p:txBody>
      </p:sp>
      <p:sp>
        <p:nvSpPr>
          <p:cNvPr id="4" name="Footer Placeholder 3"/>
          <p:cNvSpPr>
            <a:spLocks noGrp="1"/>
          </p:cNvSpPr>
          <p:nvPr>
            <p:ph type="ftr" sz="quarter" idx="3"/>
          </p:nvPr>
        </p:nvSpPr>
        <p:spPr/>
        <p:txBody>
          <a:bodyPr/>
          <a:lstStyle/>
          <a:p>
            <a:r>
              <a:rPr lang="en-US" smtClean="0"/>
              <a:t>Confidential</a:t>
            </a:r>
            <a:endParaRPr lang="en-US"/>
          </a:p>
        </p:txBody>
      </p:sp>
      <p:sp>
        <p:nvSpPr>
          <p:cNvPr id="5" name="Slide Number Placeholder 4"/>
          <p:cNvSpPr>
            <a:spLocks noGrp="1"/>
          </p:cNvSpPr>
          <p:nvPr>
            <p:ph type="sldNum" sz="quarter" idx="4"/>
          </p:nvPr>
        </p:nvSpPr>
        <p:spPr/>
        <p:txBody>
          <a:bodyPr/>
          <a:lstStyle/>
          <a:p>
            <a:pPr defTabSz="914363"/>
            <a:fld id="{727B4C2D-45E2-4621-8491-2995EB46A674}" type="slidenum">
              <a:rPr lang="en-US" smtClean="0"/>
              <a:pPr defTabSz="914363"/>
              <a:t>18</a:t>
            </a:fld>
            <a:endParaRPr lang="en-US"/>
          </a:p>
        </p:txBody>
      </p:sp>
    </p:spTree>
    <p:extLst>
      <p:ext uri="{BB962C8B-B14F-4D97-AF65-F5344CB8AC3E}">
        <p14:creationId xmlns:p14="http://schemas.microsoft.com/office/powerpoint/2010/main" val="1996151304"/>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19248" y="1447799"/>
            <a:ext cx="11151917" cy="4339650"/>
          </a:xfrm>
        </p:spPr>
        <p:txBody>
          <a:bodyPr/>
          <a:lstStyle/>
          <a:p>
            <a:pPr>
              <a:spcBef>
                <a:spcPts val="1200"/>
              </a:spcBef>
            </a:pPr>
            <a:r>
              <a:rPr lang="en-US" sz="2400" dirty="0" smtClean="0"/>
              <a:t>Categorical Data</a:t>
            </a:r>
          </a:p>
          <a:p>
            <a:pPr marL="342900" indent="-342900">
              <a:spcBef>
                <a:spcPts val="1200"/>
              </a:spcBef>
              <a:buFont typeface="Arial" panose="020B0604020202020204" pitchFamily="34" charset="0"/>
              <a:buChar char="•"/>
            </a:pPr>
            <a:r>
              <a:rPr lang="en-US" sz="1800" dirty="0" smtClean="0"/>
              <a:t>Use Clean Missing Data to replace missing data with 0</a:t>
            </a:r>
          </a:p>
          <a:p>
            <a:pPr marL="342900" indent="-342900">
              <a:spcBef>
                <a:spcPts val="1200"/>
              </a:spcBef>
              <a:buFont typeface="Arial" panose="020B0604020202020204" pitchFamily="34" charset="0"/>
              <a:buChar char="•"/>
            </a:pPr>
            <a:r>
              <a:rPr lang="en-US" sz="1800" dirty="0" smtClean="0"/>
              <a:t>Use Edit Metadata to ensure all categorical variables have the data type Categorical</a:t>
            </a:r>
          </a:p>
          <a:p>
            <a:pPr>
              <a:spcBef>
                <a:spcPts val="1200"/>
              </a:spcBef>
            </a:pPr>
            <a:r>
              <a:rPr lang="en-US" sz="2400" dirty="0" smtClean="0"/>
              <a:t>Join Data</a:t>
            </a:r>
          </a:p>
          <a:p>
            <a:pPr marL="342900" indent="-342900">
              <a:spcBef>
                <a:spcPts val="1200"/>
              </a:spcBef>
              <a:buFont typeface="Arial" panose="020B0604020202020204" pitchFamily="34" charset="0"/>
              <a:buChar char="•"/>
            </a:pPr>
            <a:r>
              <a:rPr lang="en-US" sz="1800" dirty="0" smtClean="0"/>
              <a:t>Combine the numerical and categorical columns together using Add Columns.</a:t>
            </a:r>
          </a:p>
          <a:p>
            <a:pPr marL="342900" indent="-342900">
              <a:spcBef>
                <a:spcPts val="1200"/>
              </a:spcBef>
              <a:buFont typeface="Arial" panose="020B0604020202020204" pitchFamily="34" charset="0"/>
              <a:buChar char="•"/>
            </a:pPr>
            <a:r>
              <a:rPr lang="en-US" sz="1800" dirty="0" smtClean="0"/>
              <a:t>Add labels variable to combined dataset</a:t>
            </a:r>
          </a:p>
          <a:p>
            <a:pPr marL="574675" lvl="2" indent="-342900">
              <a:spcBef>
                <a:spcPts val="1200"/>
              </a:spcBef>
              <a:buFont typeface="Arial" panose="020B0604020202020204" pitchFamily="34" charset="0"/>
              <a:buChar char="•"/>
            </a:pPr>
            <a:r>
              <a:rPr lang="en-US" sz="1600" dirty="0" smtClean="0">
                <a:latin typeface="+mj-lt"/>
              </a:rPr>
              <a:t>A file consisting of one column with values of -1 (did not churn) and +1 (customer churned)</a:t>
            </a:r>
          </a:p>
          <a:p>
            <a:pPr marL="800100" lvl="3" indent="-342900">
              <a:spcBef>
                <a:spcPts val="1200"/>
              </a:spcBef>
              <a:buFont typeface="Arial" panose="020B0604020202020204" pitchFamily="34" charset="0"/>
              <a:buChar char="•"/>
            </a:pPr>
            <a:r>
              <a:rPr lang="en-US" sz="1600" dirty="0" smtClean="0">
                <a:latin typeface="+mj-lt"/>
              </a:rPr>
              <a:t>Change the name of the label from Col1 to </a:t>
            </a:r>
            <a:r>
              <a:rPr lang="en-US" sz="1600" dirty="0" err="1" smtClean="0">
                <a:latin typeface="+mj-lt"/>
              </a:rPr>
              <a:t>ChurnLabel</a:t>
            </a:r>
            <a:endParaRPr lang="en-US" sz="1600" dirty="0">
              <a:latin typeface="+mj-lt"/>
            </a:endParaRPr>
          </a:p>
          <a:p>
            <a:endParaRPr lang="en-US" dirty="0"/>
          </a:p>
        </p:txBody>
      </p:sp>
      <p:sp>
        <p:nvSpPr>
          <p:cNvPr id="3" name="Title 2"/>
          <p:cNvSpPr>
            <a:spLocks noGrp="1"/>
          </p:cNvSpPr>
          <p:nvPr>
            <p:ph type="title"/>
          </p:nvPr>
        </p:nvSpPr>
        <p:spPr/>
        <p:txBody>
          <a:bodyPr/>
          <a:lstStyle/>
          <a:p>
            <a:r>
              <a:rPr lang="en-US" dirty="0" err="1" smtClean="0"/>
              <a:t>AzureML</a:t>
            </a:r>
            <a:r>
              <a:rPr lang="en-US" dirty="0" smtClean="0"/>
              <a:t> Churn Demo</a:t>
            </a:r>
            <a:endParaRPr lang="en-US" dirty="0"/>
          </a:p>
        </p:txBody>
      </p:sp>
      <p:sp>
        <p:nvSpPr>
          <p:cNvPr id="4" name="Footer Placeholder 3"/>
          <p:cNvSpPr>
            <a:spLocks noGrp="1"/>
          </p:cNvSpPr>
          <p:nvPr>
            <p:ph type="ftr" sz="quarter" idx="3"/>
          </p:nvPr>
        </p:nvSpPr>
        <p:spPr/>
        <p:txBody>
          <a:bodyPr/>
          <a:lstStyle/>
          <a:p>
            <a:r>
              <a:rPr lang="en-US" dirty="0" smtClean="0"/>
              <a:t>Confidential</a:t>
            </a:r>
            <a:endParaRPr lang="en-US" dirty="0"/>
          </a:p>
        </p:txBody>
      </p:sp>
      <p:sp>
        <p:nvSpPr>
          <p:cNvPr id="5" name="Slide Number Placeholder 4"/>
          <p:cNvSpPr>
            <a:spLocks noGrp="1"/>
          </p:cNvSpPr>
          <p:nvPr>
            <p:ph type="sldNum" sz="quarter" idx="4"/>
          </p:nvPr>
        </p:nvSpPr>
        <p:spPr/>
        <p:txBody>
          <a:bodyPr/>
          <a:lstStyle/>
          <a:p>
            <a:pPr defTabSz="914363"/>
            <a:fld id="{727B4C2D-45E2-4621-8491-2995EB46A674}" type="slidenum">
              <a:rPr lang="en-US" smtClean="0"/>
              <a:pPr defTabSz="914363"/>
              <a:t>19</a:t>
            </a:fld>
            <a:endParaRPr lang="en-US"/>
          </a:p>
        </p:txBody>
      </p:sp>
    </p:spTree>
    <p:extLst>
      <p:ext uri="{BB962C8B-B14F-4D97-AF65-F5344CB8AC3E}">
        <p14:creationId xmlns:p14="http://schemas.microsoft.com/office/powerpoint/2010/main" val="398441353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3176" y="2482"/>
          <a:ext cx="1587" cy="1587"/>
        </p:xfrm>
        <a:graphic>
          <a:graphicData uri="http://schemas.openxmlformats.org/presentationml/2006/ole">
            <mc:AlternateContent xmlns:mc="http://schemas.openxmlformats.org/markup-compatibility/2006">
              <mc:Choice xmlns:v="urn:schemas-microsoft-com:vml" Requires="v">
                <p:oleObj spid="_x0000_s30762" name="think-cell Slide" r:id="rId5" imgW="377" imgH="377" progId="TCLayout.ActiveDocument.1">
                  <p:embed/>
                </p:oleObj>
              </mc:Choice>
              <mc:Fallback>
                <p:oleObj name="think-cell Slide" r:id="rId5" imgW="377" imgH="377" progId="TCLayout.ActiveDocument.1">
                  <p:embed/>
                  <p:pic>
                    <p:nvPicPr>
                      <p:cNvPr id="2" name="Object 1" hidden="1"/>
                      <p:cNvPicPr/>
                      <p:nvPr/>
                    </p:nvPicPr>
                    <p:blipFill>
                      <a:blip r:embed="rId6"/>
                      <a:stretch>
                        <a:fillRect/>
                      </a:stretch>
                    </p:blipFill>
                    <p:spPr>
                      <a:xfrm>
                        <a:off x="3176" y="2482"/>
                        <a:ext cx="1587" cy="1587"/>
                      </a:xfrm>
                      <a:prstGeom prst="rect">
                        <a:avLst/>
                      </a:prstGeom>
                    </p:spPr>
                  </p:pic>
                </p:oleObj>
              </mc:Fallback>
            </mc:AlternateContent>
          </a:graphicData>
        </a:graphic>
      </p:graphicFrame>
      <p:pic>
        <p:nvPicPr>
          <p:cNvPr id="5" name="Picture 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817" y="4489827"/>
            <a:ext cx="2045983" cy="2283888"/>
          </a:xfrm>
          <a:prstGeom prst="rect">
            <a:avLst/>
          </a:prstGeom>
        </p:spPr>
      </p:pic>
      <p:sp>
        <p:nvSpPr>
          <p:cNvPr id="6" name="TextBox 5"/>
          <p:cNvSpPr txBox="1"/>
          <p:nvPr/>
        </p:nvSpPr>
        <p:spPr>
          <a:xfrm>
            <a:off x="1951410" y="4742920"/>
            <a:ext cx="4067670" cy="1815409"/>
          </a:xfrm>
          <a:prstGeom prst="rect">
            <a:avLst/>
          </a:prstGeom>
          <a:noFill/>
        </p:spPr>
        <p:txBody>
          <a:bodyPr wrap="square" rtlCol="0">
            <a:spAutoFit/>
          </a:bodyPr>
          <a:lstStyle/>
          <a:p>
            <a:pPr defTabSz="914126">
              <a:defRPr/>
            </a:pPr>
            <a:r>
              <a:rPr lang="en-US" sz="1400" kern="0">
                <a:solidFill>
                  <a:srgbClr val="F6BB00"/>
                </a:solidFill>
                <a:latin typeface="Segoe UI Semibold" panose="020B0702040204020203" pitchFamily="34" charset="0"/>
                <a:cs typeface="Segoe UI Semibold" panose="020B0702040204020203" pitchFamily="34" charset="0"/>
              </a:rPr>
              <a:t>Gold Application Development</a:t>
            </a:r>
          </a:p>
          <a:p>
            <a:pPr defTabSz="914126">
              <a:defRPr/>
            </a:pPr>
            <a:r>
              <a:rPr lang="en-US" sz="1400" kern="0">
                <a:solidFill>
                  <a:srgbClr val="F6BB00"/>
                </a:solidFill>
                <a:latin typeface="Segoe UI Semibold" panose="020B0702040204020203" pitchFamily="34" charset="0"/>
                <a:cs typeface="Segoe UI Semibold" panose="020B0702040204020203" pitchFamily="34" charset="0"/>
              </a:rPr>
              <a:t>Gold Cloud Platform</a:t>
            </a:r>
          </a:p>
          <a:p>
            <a:pPr defTabSz="914126">
              <a:defRPr/>
            </a:pPr>
            <a:r>
              <a:rPr lang="en-US" sz="1400" kern="0">
                <a:solidFill>
                  <a:srgbClr val="F6BB00"/>
                </a:solidFill>
                <a:latin typeface="Segoe UI Semibold" panose="020B0702040204020203" pitchFamily="34" charset="0"/>
                <a:cs typeface="Segoe UI Semibold" panose="020B0702040204020203" pitchFamily="34" charset="0"/>
              </a:rPr>
              <a:t>Gold Cloud Productivity</a:t>
            </a:r>
          </a:p>
          <a:p>
            <a:pPr defTabSz="914126">
              <a:defRPr/>
            </a:pPr>
            <a:r>
              <a:rPr lang="en-US" sz="1400" kern="0">
                <a:solidFill>
                  <a:srgbClr val="F6BB00"/>
                </a:solidFill>
                <a:latin typeface="Segoe UI Semibold" panose="020B0702040204020203" pitchFamily="34" charset="0"/>
                <a:cs typeface="Segoe UI Semibold" panose="020B0702040204020203" pitchFamily="34" charset="0"/>
              </a:rPr>
              <a:t>Gold Data Analytics</a:t>
            </a:r>
          </a:p>
          <a:p>
            <a:pPr defTabSz="914126">
              <a:defRPr/>
            </a:pPr>
            <a:r>
              <a:rPr lang="en-US" sz="1400" kern="0">
                <a:solidFill>
                  <a:srgbClr val="F6BB00"/>
                </a:solidFill>
                <a:latin typeface="Segoe UI Semibold" panose="020B0702040204020203" pitchFamily="34" charset="0"/>
                <a:cs typeface="Segoe UI Semibold" panose="020B0702040204020203" pitchFamily="34" charset="0"/>
              </a:rPr>
              <a:t>Gold Data Platform</a:t>
            </a:r>
          </a:p>
          <a:p>
            <a:pPr defTabSz="914126">
              <a:defRPr/>
            </a:pPr>
            <a:r>
              <a:rPr lang="en-US" sz="1400" kern="0">
                <a:solidFill>
                  <a:srgbClr val="F6BB00"/>
                </a:solidFill>
                <a:latin typeface="Segoe UI Semibold" panose="020B0702040204020203" pitchFamily="34" charset="0"/>
                <a:cs typeface="Segoe UI Semibold" panose="020B0702040204020203" pitchFamily="34" charset="0"/>
              </a:rPr>
              <a:t>Gold Datacenter</a:t>
            </a:r>
          </a:p>
          <a:p>
            <a:pPr defTabSz="914126">
              <a:defRPr/>
            </a:pPr>
            <a:r>
              <a:rPr lang="en-US" sz="1400" kern="0">
                <a:solidFill>
                  <a:srgbClr val="FFC000"/>
                </a:solidFill>
                <a:latin typeface="Segoe UI Semibold" panose="020B0702040204020203" pitchFamily="34" charset="0"/>
                <a:cs typeface="Segoe UI Semibold" panose="020B0702040204020203" pitchFamily="34" charset="0"/>
              </a:rPr>
              <a:t>Gold Enterprise Mobility Management</a:t>
            </a:r>
            <a:endParaRPr lang="en-US" sz="1400" kern="0">
              <a:solidFill>
                <a:srgbClr val="FF0000"/>
              </a:solidFill>
              <a:latin typeface="Segoe UI Semibold" panose="020B0702040204020203" pitchFamily="34" charset="0"/>
              <a:cs typeface="Segoe UI Semibold" panose="020B0702040204020203" pitchFamily="34" charset="0"/>
            </a:endParaRPr>
          </a:p>
          <a:p>
            <a:pPr defTabSz="914126">
              <a:defRPr/>
            </a:pPr>
            <a:r>
              <a:rPr lang="en-US" sz="1400" kern="0">
                <a:solidFill>
                  <a:srgbClr val="F6BB00"/>
                </a:solidFill>
                <a:latin typeface="Segoe UI Semibold" panose="020B0702040204020203" pitchFamily="34" charset="0"/>
                <a:cs typeface="Segoe UI Semibold" panose="020B0702040204020203" pitchFamily="34" charset="0"/>
              </a:rPr>
              <a:t>Gold Hosting</a:t>
            </a:r>
          </a:p>
        </p:txBody>
      </p:sp>
      <p:sp>
        <p:nvSpPr>
          <p:cNvPr id="7" name="TextBox 6"/>
          <p:cNvSpPr txBox="1"/>
          <p:nvPr/>
        </p:nvSpPr>
        <p:spPr>
          <a:xfrm>
            <a:off x="5950208" y="4742919"/>
            <a:ext cx="4742376" cy="2030796"/>
          </a:xfrm>
          <a:prstGeom prst="rect">
            <a:avLst/>
          </a:prstGeom>
          <a:noFill/>
        </p:spPr>
        <p:txBody>
          <a:bodyPr wrap="square" rtlCol="0">
            <a:spAutoFit/>
          </a:bodyPr>
          <a:lstStyle/>
          <a:p>
            <a:pPr defTabSz="914126">
              <a:defRPr/>
            </a:pPr>
            <a:r>
              <a:rPr lang="en-US" sz="1400" kern="0">
                <a:solidFill>
                  <a:prstClr val="white">
                    <a:lumMod val="50000"/>
                  </a:prstClr>
                </a:solidFill>
                <a:latin typeface="Segoe UI Semibold" panose="020B0702040204020203" pitchFamily="34" charset="0"/>
                <a:cs typeface="Segoe UI Semibold" panose="020B0702040204020203" pitchFamily="34" charset="0"/>
              </a:rPr>
              <a:t>Silver Cloud Customer Relationship Management</a:t>
            </a:r>
          </a:p>
          <a:p>
            <a:pPr defTabSz="914126">
              <a:defRPr/>
            </a:pPr>
            <a:r>
              <a:rPr lang="en-US" sz="1400" kern="0">
                <a:solidFill>
                  <a:prstClr val="white">
                    <a:lumMod val="50000"/>
                  </a:prstClr>
                </a:solidFill>
                <a:latin typeface="Segoe UI Semibold" panose="020B0702040204020203" pitchFamily="34" charset="0"/>
                <a:cs typeface="Segoe UI Semibold" panose="020B0702040204020203" pitchFamily="34" charset="0"/>
              </a:rPr>
              <a:t>Silver Collaboration and Content</a:t>
            </a:r>
          </a:p>
          <a:p>
            <a:pPr defTabSz="914126">
              <a:defRPr/>
            </a:pPr>
            <a:r>
              <a:rPr lang="en-US" sz="1400" kern="0">
                <a:solidFill>
                  <a:prstClr val="white">
                    <a:lumMod val="50000"/>
                  </a:prstClr>
                </a:solidFill>
                <a:latin typeface="Segoe UI Semibold" panose="020B0702040204020203" pitchFamily="34" charset="0"/>
                <a:cs typeface="Segoe UI Semibold" panose="020B0702040204020203" pitchFamily="34" charset="0"/>
              </a:rPr>
              <a:t>Silver Digital Advertising</a:t>
            </a:r>
          </a:p>
          <a:p>
            <a:pPr defTabSz="914126">
              <a:defRPr/>
            </a:pPr>
            <a:r>
              <a:rPr lang="en-US" sz="1400" kern="0">
                <a:solidFill>
                  <a:prstClr val="white">
                    <a:lumMod val="50000"/>
                  </a:prstClr>
                </a:solidFill>
                <a:latin typeface="Segoe UI Semibold" panose="020B0702040204020203" pitchFamily="34" charset="0"/>
                <a:cs typeface="Segoe UI Semibold" panose="020B0702040204020203" pitchFamily="34" charset="0"/>
              </a:rPr>
              <a:t>Silver Intelligent Systems</a:t>
            </a:r>
          </a:p>
          <a:p>
            <a:pPr defTabSz="914126">
              <a:defRPr/>
            </a:pPr>
            <a:r>
              <a:rPr lang="en-US" sz="1400" kern="0">
                <a:solidFill>
                  <a:prstClr val="white">
                    <a:lumMod val="50000"/>
                  </a:prstClr>
                </a:solidFill>
                <a:latin typeface="Segoe UI Semibold" panose="020B0702040204020203" pitchFamily="34" charset="0"/>
                <a:cs typeface="Segoe UI Semibold" panose="020B0702040204020203" pitchFamily="34" charset="0"/>
              </a:rPr>
              <a:t>Silver Messaging</a:t>
            </a:r>
          </a:p>
          <a:p>
            <a:pPr defTabSz="914126">
              <a:defRPr/>
            </a:pPr>
            <a:r>
              <a:rPr lang="en-US" sz="1400" kern="0">
                <a:solidFill>
                  <a:prstClr val="white">
                    <a:lumMod val="50000"/>
                  </a:prstClr>
                </a:solidFill>
                <a:latin typeface="Segoe UI Semibold" panose="020B0702040204020203" pitchFamily="34" charset="0"/>
                <a:cs typeface="Segoe UI Semibold" panose="020B0702040204020203" pitchFamily="34" charset="0"/>
              </a:rPr>
              <a:t>Silver </a:t>
            </a:r>
            <a:r>
              <a:rPr lang="en-US" sz="1400" kern="0" err="1">
                <a:solidFill>
                  <a:prstClr val="white">
                    <a:lumMod val="50000"/>
                  </a:prstClr>
                </a:solidFill>
                <a:latin typeface="Segoe UI Semibold" panose="020B0702040204020203" pitchFamily="34" charset="0"/>
                <a:cs typeface="Segoe UI Semibold" panose="020B0702040204020203" pitchFamily="34" charset="0"/>
              </a:rPr>
              <a:t>MidMarket</a:t>
            </a:r>
            <a:r>
              <a:rPr lang="en-US" sz="1400" kern="0">
                <a:solidFill>
                  <a:prstClr val="white">
                    <a:lumMod val="50000"/>
                  </a:prstClr>
                </a:solidFill>
                <a:latin typeface="Segoe UI Semibold" panose="020B0702040204020203" pitchFamily="34" charset="0"/>
                <a:cs typeface="Segoe UI Semibold" panose="020B0702040204020203" pitchFamily="34" charset="0"/>
              </a:rPr>
              <a:t> Solutions Provider</a:t>
            </a:r>
          </a:p>
          <a:p>
            <a:pPr defTabSz="914126">
              <a:defRPr/>
            </a:pPr>
            <a:r>
              <a:rPr lang="en-US" sz="1400" kern="0">
                <a:solidFill>
                  <a:prstClr val="white">
                    <a:lumMod val="50000"/>
                  </a:prstClr>
                </a:solidFill>
                <a:latin typeface="Segoe UI Semibold" panose="020B0702040204020203" pitchFamily="34" charset="0"/>
                <a:cs typeface="Segoe UI Semibold" panose="020B0702040204020203" pitchFamily="34" charset="0"/>
              </a:rPr>
              <a:t>Silver Small and </a:t>
            </a:r>
            <a:r>
              <a:rPr lang="en-US" sz="1400" kern="0" err="1">
                <a:solidFill>
                  <a:prstClr val="white">
                    <a:lumMod val="50000"/>
                  </a:prstClr>
                </a:solidFill>
                <a:latin typeface="Segoe UI Semibold" panose="020B0702040204020203" pitchFamily="34" charset="0"/>
                <a:cs typeface="Segoe UI Semibold" panose="020B0702040204020203" pitchFamily="34" charset="0"/>
              </a:rPr>
              <a:t>MidMarket</a:t>
            </a:r>
            <a:r>
              <a:rPr lang="en-US" sz="1400" kern="0">
                <a:solidFill>
                  <a:prstClr val="white">
                    <a:lumMod val="50000"/>
                  </a:prstClr>
                </a:solidFill>
                <a:latin typeface="Segoe UI Semibold" panose="020B0702040204020203" pitchFamily="34" charset="0"/>
                <a:cs typeface="Segoe UI Semibold" panose="020B0702040204020203" pitchFamily="34" charset="0"/>
              </a:rPr>
              <a:t> Cloud Solutions</a:t>
            </a:r>
          </a:p>
          <a:p>
            <a:pPr defTabSz="914126">
              <a:defRPr/>
            </a:pPr>
            <a:r>
              <a:rPr lang="en-US" sz="1400" kern="0">
                <a:solidFill>
                  <a:prstClr val="white">
                    <a:lumMod val="50000"/>
                  </a:prstClr>
                </a:solidFill>
                <a:latin typeface="Segoe UI Semibold" panose="020B0702040204020203" pitchFamily="34" charset="0"/>
                <a:cs typeface="Segoe UI Semibold" panose="020B0702040204020203" pitchFamily="34" charset="0"/>
              </a:rPr>
              <a:t>Silver Windows and Devices</a:t>
            </a:r>
          </a:p>
          <a:p>
            <a:pPr defTabSz="914126">
              <a:defRPr/>
            </a:pPr>
            <a:endParaRPr lang="en-US" sz="1400" kern="0">
              <a:solidFill>
                <a:prstClr val="white">
                  <a:lumMod val="50000"/>
                </a:prstClr>
              </a:solidFill>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7412836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19248" y="1447799"/>
            <a:ext cx="11151917" cy="4339650"/>
          </a:xfrm>
        </p:spPr>
        <p:txBody>
          <a:bodyPr/>
          <a:lstStyle/>
          <a:p>
            <a:r>
              <a:rPr lang="en-US" sz="2400" dirty="0" smtClean="0"/>
              <a:t>Algorithm Development</a:t>
            </a:r>
          </a:p>
          <a:p>
            <a:pPr marL="342900" indent="-342900">
              <a:buFont typeface="Arial" panose="020B0604020202020204" pitchFamily="34" charset="0"/>
              <a:buChar char="•"/>
            </a:pPr>
            <a:r>
              <a:rPr lang="en-US" sz="2000" dirty="0" smtClean="0"/>
              <a:t>2 classification algorithms are evaluated</a:t>
            </a:r>
          </a:p>
          <a:p>
            <a:pPr marL="574675" lvl="2" indent="-342900">
              <a:buFont typeface="Arial" panose="020B0604020202020204" pitchFamily="34" charset="0"/>
              <a:buChar char="•"/>
            </a:pPr>
            <a:r>
              <a:rPr lang="en-US" sz="1800" dirty="0" smtClean="0">
                <a:latin typeface="+mj-lt"/>
              </a:rPr>
              <a:t>Two Class Boosted Decision Tree and Two Class Decision Forest</a:t>
            </a:r>
          </a:p>
          <a:p>
            <a:pPr marL="342900" lvl="1" indent="-342900">
              <a:buFont typeface="Arial" panose="020B0604020202020204" pitchFamily="34" charset="0"/>
              <a:buChar char="•"/>
            </a:pPr>
            <a:r>
              <a:rPr lang="en-US" dirty="0" smtClean="0">
                <a:latin typeface="+mj-lt"/>
              </a:rPr>
              <a:t>Split the data into test and train</a:t>
            </a:r>
          </a:p>
          <a:p>
            <a:pPr marL="342900" lvl="1" indent="-342900">
              <a:buFont typeface="Arial" panose="020B0604020202020204" pitchFamily="34" charset="0"/>
              <a:buChar char="•"/>
            </a:pPr>
            <a:r>
              <a:rPr lang="en-US" dirty="0" smtClean="0">
                <a:latin typeface="+mj-lt"/>
              </a:rPr>
              <a:t>Run the models and review the results</a:t>
            </a:r>
          </a:p>
          <a:p>
            <a:pPr lvl="2"/>
            <a:endParaRPr lang="en-US" dirty="0" smtClean="0">
              <a:latin typeface="+mj-lt"/>
            </a:endParaRPr>
          </a:p>
          <a:p>
            <a:endParaRPr lang="en-US" dirty="0" smtClean="0"/>
          </a:p>
          <a:p>
            <a:endParaRPr lang="en-US" dirty="0"/>
          </a:p>
        </p:txBody>
      </p:sp>
      <p:sp>
        <p:nvSpPr>
          <p:cNvPr id="3" name="Title 2"/>
          <p:cNvSpPr>
            <a:spLocks noGrp="1"/>
          </p:cNvSpPr>
          <p:nvPr>
            <p:ph type="title"/>
          </p:nvPr>
        </p:nvSpPr>
        <p:spPr/>
        <p:txBody>
          <a:bodyPr/>
          <a:lstStyle/>
          <a:p>
            <a:r>
              <a:rPr lang="en-US" dirty="0" err="1" smtClean="0"/>
              <a:t>AzureML</a:t>
            </a:r>
            <a:r>
              <a:rPr lang="en-US" dirty="0" smtClean="0"/>
              <a:t> Churn Demo</a:t>
            </a:r>
            <a:endParaRPr lang="en-US" dirty="0"/>
          </a:p>
        </p:txBody>
      </p:sp>
      <p:sp>
        <p:nvSpPr>
          <p:cNvPr id="4" name="Footer Placeholder 3"/>
          <p:cNvSpPr>
            <a:spLocks noGrp="1"/>
          </p:cNvSpPr>
          <p:nvPr>
            <p:ph type="ftr" sz="quarter" idx="3"/>
          </p:nvPr>
        </p:nvSpPr>
        <p:spPr/>
        <p:txBody>
          <a:bodyPr/>
          <a:lstStyle/>
          <a:p>
            <a:r>
              <a:rPr lang="en-US" smtClean="0"/>
              <a:t>Confidential</a:t>
            </a:r>
            <a:endParaRPr lang="en-US"/>
          </a:p>
        </p:txBody>
      </p:sp>
      <p:sp>
        <p:nvSpPr>
          <p:cNvPr id="5" name="Slide Number Placeholder 4"/>
          <p:cNvSpPr>
            <a:spLocks noGrp="1"/>
          </p:cNvSpPr>
          <p:nvPr>
            <p:ph type="sldNum" sz="quarter" idx="4"/>
          </p:nvPr>
        </p:nvSpPr>
        <p:spPr/>
        <p:txBody>
          <a:bodyPr/>
          <a:lstStyle/>
          <a:p>
            <a:pPr defTabSz="914363"/>
            <a:fld id="{727B4C2D-45E2-4621-8491-2995EB46A674}" type="slidenum">
              <a:rPr lang="en-US" smtClean="0"/>
              <a:pPr defTabSz="914363"/>
              <a:t>20</a:t>
            </a:fld>
            <a:endParaRPr lang="en-US"/>
          </a:p>
        </p:txBody>
      </p:sp>
    </p:spTree>
    <p:extLst>
      <p:ext uri="{BB962C8B-B14F-4D97-AF65-F5344CB8AC3E}">
        <p14:creationId xmlns:p14="http://schemas.microsoft.com/office/powerpoint/2010/main" val="3203716878"/>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81873" y="0"/>
            <a:ext cx="8148281" cy="6189560"/>
          </a:xfrm>
          <a:prstGeom prst="rect">
            <a:avLst/>
          </a:prstGeom>
        </p:spPr>
      </p:pic>
    </p:spTree>
    <p:extLst>
      <p:ext uri="{BB962C8B-B14F-4D97-AF65-F5344CB8AC3E}">
        <p14:creationId xmlns:p14="http://schemas.microsoft.com/office/powerpoint/2010/main" val="1817974941"/>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a:extLst>
              <a:ext uri="{28A0092B-C50C-407E-A947-70E740481C1C}">
                <a14:useLocalDpi xmlns:a14="http://schemas.microsoft.com/office/drawing/2010/main" val="0"/>
              </a:ext>
            </a:extLst>
          </a:blip>
          <a:srcRect l="2801" t="5717" r="2801" b="11774"/>
          <a:stretch/>
        </p:blipFill>
        <p:spPr>
          <a:xfrm>
            <a:off x="2041721" y="1383323"/>
            <a:ext cx="7532126" cy="3704492"/>
          </a:xfrm>
          <a:prstGeom prst="rect">
            <a:avLst/>
          </a:prstGeom>
        </p:spPr>
      </p:pic>
    </p:spTree>
    <p:extLst>
      <p:ext uri="{BB962C8B-B14F-4D97-AF65-F5344CB8AC3E}">
        <p14:creationId xmlns:p14="http://schemas.microsoft.com/office/powerpoint/2010/main" val="3486575038"/>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19248" y="1447799"/>
            <a:ext cx="11151917" cy="1769715"/>
          </a:xfrm>
        </p:spPr>
        <p:txBody>
          <a:bodyPr/>
          <a:lstStyle/>
          <a:p>
            <a:r>
              <a:rPr lang="en-US" sz="2400" dirty="0" smtClean="0"/>
              <a:t>Use Case Scenario</a:t>
            </a:r>
          </a:p>
          <a:p>
            <a:pPr marL="342900" indent="-342900">
              <a:buFont typeface="Arial" panose="020B0604020202020204" pitchFamily="34" charset="0"/>
              <a:buChar char="•"/>
            </a:pPr>
            <a:r>
              <a:rPr lang="en-US" sz="2000" dirty="0" smtClean="0"/>
              <a:t>From a wholesale dataset, segment the customers into distinct classes.</a:t>
            </a:r>
          </a:p>
          <a:p>
            <a:pPr marL="574675" lvl="2" indent="-342900">
              <a:buFont typeface="Arial" panose="020B0604020202020204" pitchFamily="34" charset="0"/>
              <a:buChar char="•"/>
            </a:pPr>
            <a:endParaRPr lang="en-US" sz="1800" dirty="0" smtClean="0">
              <a:latin typeface="+mj-lt"/>
            </a:endParaRPr>
          </a:p>
          <a:p>
            <a:pPr marL="571500" lvl="1" indent="-571500">
              <a:spcBef>
                <a:spcPts val="1200"/>
              </a:spcBef>
              <a:buFont typeface="Arial" panose="020B0604020202020204" pitchFamily="34" charset="0"/>
              <a:buChar char="•"/>
            </a:pPr>
            <a:endParaRPr lang="en-US" sz="1800" dirty="0" smtClean="0">
              <a:latin typeface="+mj-lt"/>
            </a:endParaRPr>
          </a:p>
        </p:txBody>
      </p:sp>
      <p:sp>
        <p:nvSpPr>
          <p:cNvPr id="3" name="Title 2"/>
          <p:cNvSpPr>
            <a:spLocks noGrp="1"/>
          </p:cNvSpPr>
          <p:nvPr>
            <p:ph type="title"/>
          </p:nvPr>
        </p:nvSpPr>
        <p:spPr/>
        <p:txBody>
          <a:bodyPr/>
          <a:lstStyle/>
          <a:p>
            <a:r>
              <a:rPr lang="en-US" dirty="0" err="1" smtClean="0"/>
              <a:t>AzureML</a:t>
            </a:r>
            <a:r>
              <a:rPr lang="en-US" dirty="0" smtClean="0"/>
              <a:t> – Segmentation Demo</a:t>
            </a:r>
            <a:endParaRPr lang="en-US" dirty="0"/>
          </a:p>
        </p:txBody>
      </p:sp>
      <p:sp>
        <p:nvSpPr>
          <p:cNvPr id="4" name="Footer Placeholder 3"/>
          <p:cNvSpPr>
            <a:spLocks noGrp="1"/>
          </p:cNvSpPr>
          <p:nvPr>
            <p:ph type="ftr" sz="quarter" idx="3"/>
          </p:nvPr>
        </p:nvSpPr>
        <p:spPr/>
        <p:txBody>
          <a:bodyPr/>
          <a:lstStyle/>
          <a:p>
            <a:r>
              <a:rPr lang="en-US" smtClean="0"/>
              <a:t>Confidential</a:t>
            </a:r>
            <a:endParaRPr lang="en-US"/>
          </a:p>
        </p:txBody>
      </p:sp>
      <p:sp>
        <p:nvSpPr>
          <p:cNvPr id="5" name="Slide Number Placeholder 4"/>
          <p:cNvSpPr>
            <a:spLocks noGrp="1"/>
          </p:cNvSpPr>
          <p:nvPr>
            <p:ph type="sldNum" sz="quarter" idx="4"/>
          </p:nvPr>
        </p:nvSpPr>
        <p:spPr/>
        <p:txBody>
          <a:bodyPr/>
          <a:lstStyle/>
          <a:p>
            <a:pPr defTabSz="914363"/>
            <a:fld id="{727B4C2D-45E2-4621-8491-2995EB46A674}" type="slidenum">
              <a:rPr lang="en-US" smtClean="0"/>
              <a:pPr defTabSz="914363"/>
              <a:t>23</a:t>
            </a:fld>
            <a:endParaRPr lang="en-US"/>
          </a:p>
        </p:txBody>
      </p:sp>
    </p:spTree>
    <p:extLst>
      <p:ext uri="{BB962C8B-B14F-4D97-AF65-F5344CB8AC3E}">
        <p14:creationId xmlns:p14="http://schemas.microsoft.com/office/powerpoint/2010/main" val="1002220287"/>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19248" y="1447799"/>
            <a:ext cx="11151917" cy="4616648"/>
          </a:xfrm>
        </p:spPr>
        <p:txBody>
          <a:bodyPr/>
          <a:lstStyle/>
          <a:p>
            <a:r>
              <a:rPr lang="en-US" sz="2400" dirty="0" smtClean="0"/>
              <a:t>Data Engineering</a:t>
            </a:r>
          </a:p>
          <a:p>
            <a:pPr marL="571500" indent="-571500">
              <a:spcBef>
                <a:spcPts val="1200"/>
              </a:spcBef>
              <a:buFont typeface="Arial" panose="020B0604020202020204" pitchFamily="34" charset="0"/>
              <a:buChar char="•"/>
            </a:pPr>
            <a:r>
              <a:rPr lang="en-US" sz="1800" dirty="0" smtClean="0"/>
              <a:t>Columns 1-190 are numeric, the rest are categorical. </a:t>
            </a:r>
            <a:endParaRPr lang="en-US" sz="1800" dirty="0"/>
          </a:p>
          <a:p>
            <a:pPr marL="803275" lvl="2" indent="-571500">
              <a:spcBef>
                <a:spcPts val="1200"/>
              </a:spcBef>
              <a:buFont typeface="Arial" panose="020B0604020202020204" pitchFamily="34" charset="0"/>
              <a:buChar char="•"/>
            </a:pPr>
            <a:r>
              <a:rPr lang="en-US" sz="1800" dirty="0" smtClean="0">
                <a:latin typeface="+mj-lt"/>
              </a:rPr>
              <a:t>S</a:t>
            </a:r>
            <a:r>
              <a:rPr lang="en-US" sz="1600" dirty="0" smtClean="0">
                <a:latin typeface="+mj-lt"/>
              </a:rPr>
              <a:t>plit the data between numeric and categorical</a:t>
            </a:r>
          </a:p>
          <a:p>
            <a:pPr marL="803275" lvl="2" indent="-571500">
              <a:spcBef>
                <a:spcPts val="1200"/>
              </a:spcBef>
              <a:buFont typeface="Arial" panose="020B0604020202020204" pitchFamily="34" charset="0"/>
              <a:buChar char="•"/>
            </a:pPr>
            <a:r>
              <a:rPr lang="en-US" sz="1600" dirty="0" smtClean="0">
                <a:latin typeface="+mj-lt"/>
              </a:rPr>
              <a:t>Remove numerical variables that are all or nearly all 0s (added a branch showing how to do this in R)</a:t>
            </a:r>
          </a:p>
          <a:p>
            <a:pPr marL="803275" lvl="2" indent="-571500">
              <a:spcBef>
                <a:spcPts val="1200"/>
              </a:spcBef>
              <a:buFont typeface="Arial" panose="020B0604020202020204" pitchFamily="34" charset="0"/>
              <a:buChar char="•"/>
            </a:pPr>
            <a:r>
              <a:rPr lang="en-US" sz="1600" dirty="0" smtClean="0">
                <a:latin typeface="+mj-lt"/>
              </a:rPr>
              <a:t>Apply a Math operation to add +1 to each numeric variable</a:t>
            </a:r>
          </a:p>
          <a:p>
            <a:pPr marL="1028700" lvl="3" indent="-571500">
              <a:spcBef>
                <a:spcPts val="1200"/>
              </a:spcBef>
              <a:buFont typeface="Arial" panose="020B0604020202020204" pitchFamily="34" charset="0"/>
              <a:buChar char="•"/>
            </a:pPr>
            <a:r>
              <a:rPr lang="en-US" sz="1600" dirty="0" smtClean="0">
                <a:latin typeface="+mj-lt"/>
              </a:rPr>
              <a:t>Allows you to distinguish between a 0 in the data source vs. the substitution value of 0 when the missing data substitution is made later.</a:t>
            </a:r>
          </a:p>
          <a:p>
            <a:pPr marL="803275" lvl="2" indent="-571500">
              <a:spcBef>
                <a:spcPts val="1200"/>
              </a:spcBef>
              <a:buFont typeface="Arial" panose="020B0604020202020204" pitchFamily="34" charset="0"/>
              <a:buChar char="•"/>
            </a:pPr>
            <a:r>
              <a:rPr lang="en-US" sz="1800" dirty="0" smtClean="0">
                <a:latin typeface="+mj-lt"/>
              </a:rPr>
              <a:t>Apply the Clean Missing Data module to sub 0 for all missing numeric values</a:t>
            </a:r>
          </a:p>
          <a:p>
            <a:pPr marL="803275" lvl="2" indent="-571500">
              <a:spcBef>
                <a:spcPts val="1200"/>
              </a:spcBef>
              <a:buFont typeface="Arial" panose="020B0604020202020204" pitchFamily="34" charset="0"/>
              <a:buChar char="•"/>
            </a:pPr>
            <a:r>
              <a:rPr lang="en-US" sz="1800" dirty="0" smtClean="0">
                <a:latin typeface="+mj-lt"/>
              </a:rPr>
              <a:t>Bin the numeric column variable values into 50 equally spaced bins</a:t>
            </a:r>
          </a:p>
          <a:p>
            <a:pPr marL="1028700" lvl="3" indent="-571500">
              <a:spcBef>
                <a:spcPts val="1200"/>
              </a:spcBef>
              <a:buFont typeface="Arial" panose="020B0604020202020204" pitchFamily="34" charset="0"/>
              <a:buChar char="•"/>
            </a:pPr>
            <a:r>
              <a:rPr lang="en-US" sz="1600" dirty="0" smtClean="0">
                <a:latin typeface="+mj-lt"/>
              </a:rPr>
              <a:t>This sometimes helps the accuracy of machine learning algorithms – always experiment to determine the best way to proceed!</a:t>
            </a:r>
          </a:p>
          <a:p>
            <a:pPr marL="571500" lvl="1" indent="-571500">
              <a:spcBef>
                <a:spcPts val="1200"/>
              </a:spcBef>
              <a:buFont typeface="Arial" panose="020B0604020202020204" pitchFamily="34" charset="0"/>
              <a:buChar char="•"/>
            </a:pPr>
            <a:endParaRPr lang="en-US" sz="1800" dirty="0" smtClean="0">
              <a:latin typeface="+mj-lt"/>
            </a:endParaRPr>
          </a:p>
        </p:txBody>
      </p:sp>
      <p:sp>
        <p:nvSpPr>
          <p:cNvPr id="3" name="Title 2"/>
          <p:cNvSpPr>
            <a:spLocks noGrp="1"/>
          </p:cNvSpPr>
          <p:nvPr>
            <p:ph type="title"/>
          </p:nvPr>
        </p:nvSpPr>
        <p:spPr/>
        <p:txBody>
          <a:bodyPr/>
          <a:lstStyle/>
          <a:p>
            <a:r>
              <a:rPr lang="en-US" dirty="0" err="1" smtClean="0"/>
              <a:t>AzureML</a:t>
            </a:r>
            <a:r>
              <a:rPr lang="en-US" dirty="0" smtClean="0"/>
              <a:t> – Segmentation Demo</a:t>
            </a:r>
            <a:endParaRPr lang="en-US" dirty="0"/>
          </a:p>
        </p:txBody>
      </p:sp>
      <p:sp>
        <p:nvSpPr>
          <p:cNvPr id="4" name="Footer Placeholder 3"/>
          <p:cNvSpPr>
            <a:spLocks noGrp="1"/>
          </p:cNvSpPr>
          <p:nvPr>
            <p:ph type="ftr" sz="quarter" idx="3"/>
          </p:nvPr>
        </p:nvSpPr>
        <p:spPr/>
        <p:txBody>
          <a:bodyPr/>
          <a:lstStyle/>
          <a:p>
            <a:r>
              <a:rPr lang="en-US" smtClean="0"/>
              <a:t>Confidential</a:t>
            </a:r>
            <a:endParaRPr lang="en-US"/>
          </a:p>
        </p:txBody>
      </p:sp>
      <p:sp>
        <p:nvSpPr>
          <p:cNvPr id="5" name="Slide Number Placeholder 4"/>
          <p:cNvSpPr>
            <a:spLocks noGrp="1"/>
          </p:cNvSpPr>
          <p:nvPr>
            <p:ph type="sldNum" sz="quarter" idx="4"/>
          </p:nvPr>
        </p:nvSpPr>
        <p:spPr/>
        <p:txBody>
          <a:bodyPr/>
          <a:lstStyle/>
          <a:p>
            <a:pPr defTabSz="914363"/>
            <a:fld id="{727B4C2D-45E2-4621-8491-2995EB46A674}" type="slidenum">
              <a:rPr lang="en-US" smtClean="0"/>
              <a:pPr defTabSz="914363"/>
              <a:t>24</a:t>
            </a:fld>
            <a:endParaRPr lang="en-US"/>
          </a:p>
        </p:txBody>
      </p:sp>
    </p:spTree>
    <p:extLst>
      <p:ext uri="{BB962C8B-B14F-4D97-AF65-F5344CB8AC3E}">
        <p14:creationId xmlns:p14="http://schemas.microsoft.com/office/powerpoint/2010/main" val="1958826859"/>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siness Problem</a:t>
            </a:r>
            <a:endParaRPr lang="en-US" dirty="0"/>
          </a:p>
        </p:txBody>
      </p:sp>
      <p:sp>
        <p:nvSpPr>
          <p:cNvPr id="3" name="Text Placeholder 2"/>
          <p:cNvSpPr>
            <a:spLocks noGrp="1"/>
          </p:cNvSpPr>
          <p:nvPr>
            <p:ph type="body" sz="quarter" idx="12"/>
          </p:nvPr>
        </p:nvSpPr>
        <p:spPr/>
        <p:txBody>
          <a:bodyPr/>
          <a:lstStyle/>
          <a:p>
            <a:r>
              <a:rPr lang="en-US" dirty="0" smtClean="0"/>
              <a:t>How can I improve my business?</a:t>
            </a:r>
            <a:endParaRPr lang="en-US" dirty="0"/>
          </a:p>
        </p:txBody>
      </p:sp>
    </p:spTree>
    <p:extLst>
      <p:ext uri="{BB962C8B-B14F-4D97-AF65-F5344CB8AC3E}">
        <p14:creationId xmlns:p14="http://schemas.microsoft.com/office/powerpoint/2010/main" val="771374593"/>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4000" y="0"/>
            <a:ext cx="9144000" cy="6858000"/>
          </a:xfrm>
          <a:prstGeom prst="rect">
            <a:avLst/>
          </a:prstGeom>
        </p:spPr>
      </p:pic>
    </p:spTree>
    <p:extLst>
      <p:ext uri="{BB962C8B-B14F-4D97-AF65-F5344CB8AC3E}">
        <p14:creationId xmlns:p14="http://schemas.microsoft.com/office/powerpoint/2010/main" val="4050183231"/>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endParaRPr lang="en-US"/>
          </a:p>
        </p:txBody>
      </p:sp>
      <p:sp>
        <p:nvSpPr>
          <p:cNvPr id="2" name="Title 1"/>
          <p:cNvSpPr>
            <a:spLocks noGrp="1"/>
          </p:cNvSpPr>
          <p:nvPr>
            <p:ph type="title"/>
          </p:nvPr>
        </p:nvSpPr>
        <p:spPr/>
        <p:txBody>
          <a:bodyPr/>
          <a:lstStyle/>
          <a:p>
            <a:r>
              <a:rPr lang="en-US"/>
              <a:t>AGENDA SLIDE</a:t>
            </a:r>
            <a:endParaRPr lang="en-US">
              <a:cs typeface="Segoe UI Light"/>
            </a:endParaRPr>
          </a:p>
        </p:txBody>
      </p:sp>
      <p:sp>
        <p:nvSpPr>
          <p:cNvPr id="4" name="Footer Placeholder 3"/>
          <p:cNvSpPr>
            <a:spLocks noGrp="1"/>
          </p:cNvSpPr>
          <p:nvPr>
            <p:ph type="ftr" sz="quarter" idx="3"/>
          </p:nvPr>
        </p:nvSpPr>
        <p:spPr/>
        <p:txBody>
          <a:bodyPr/>
          <a:lstStyle/>
          <a:p>
            <a:r>
              <a:rPr lang="en-US"/>
              <a:t>Confidential</a:t>
            </a:r>
          </a:p>
        </p:txBody>
      </p:sp>
      <p:sp>
        <p:nvSpPr>
          <p:cNvPr id="6" name="Slide Number Placeholder 5"/>
          <p:cNvSpPr>
            <a:spLocks noGrp="1"/>
          </p:cNvSpPr>
          <p:nvPr>
            <p:ph type="sldNum" sz="quarter" idx="4"/>
          </p:nvPr>
        </p:nvSpPr>
        <p:spPr/>
        <p:txBody>
          <a:bodyPr/>
          <a:lstStyle/>
          <a:p>
            <a:pPr defTabSz="914363"/>
            <a:fld id="{727B4C2D-45E2-4621-8491-2995EB46A674}" type="slidenum">
              <a:rPr lang="en-US" smtClean="0"/>
              <a:pPr defTabSz="914363"/>
              <a:t>27</a:t>
            </a:fld>
            <a:endParaRPr lang="en-US"/>
          </a:p>
        </p:txBody>
      </p:sp>
    </p:spTree>
    <p:extLst>
      <p:ext uri="{BB962C8B-B14F-4D97-AF65-F5344CB8AC3E}">
        <p14:creationId xmlns:p14="http://schemas.microsoft.com/office/powerpoint/2010/main" val="147346696"/>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Footer Placeholder 2"/>
          <p:cNvSpPr>
            <a:spLocks noGrp="1"/>
          </p:cNvSpPr>
          <p:nvPr>
            <p:ph type="ftr" sz="quarter" idx="3"/>
          </p:nvPr>
        </p:nvSpPr>
        <p:spPr/>
        <p:txBody>
          <a:bodyPr/>
          <a:lstStyle/>
          <a:p>
            <a:r>
              <a:rPr lang="en-US" smtClean="0"/>
              <a:t>Confidential</a:t>
            </a:r>
            <a:endParaRPr lang="en-US"/>
          </a:p>
        </p:txBody>
      </p:sp>
      <p:sp>
        <p:nvSpPr>
          <p:cNvPr id="4" name="Slide Number Placeholder 3"/>
          <p:cNvSpPr>
            <a:spLocks noGrp="1"/>
          </p:cNvSpPr>
          <p:nvPr>
            <p:ph type="sldNum" sz="quarter" idx="4"/>
          </p:nvPr>
        </p:nvSpPr>
        <p:spPr/>
        <p:txBody>
          <a:bodyPr/>
          <a:lstStyle/>
          <a:p>
            <a:pPr defTabSz="914363"/>
            <a:fld id="{727B4C2D-45E2-4621-8491-2995EB46A674}" type="slidenum">
              <a:rPr lang="en-US" smtClean="0"/>
              <a:pPr defTabSz="914363"/>
              <a:t>28</a:t>
            </a:fld>
            <a:endParaRPr lang="en-US"/>
          </a:p>
        </p:txBody>
      </p:sp>
    </p:spTree>
    <p:extLst>
      <p:ext uri="{BB962C8B-B14F-4D97-AF65-F5344CB8AC3E}">
        <p14:creationId xmlns:p14="http://schemas.microsoft.com/office/powerpoint/2010/main" val="3181260910"/>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endParaRPr lang="en-US"/>
          </a:p>
        </p:txBody>
      </p:sp>
      <p:sp>
        <p:nvSpPr>
          <p:cNvPr id="3" name="Subtitle 2"/>
          <p:cNvSpPr>
            <a:spLocks noGrp="1"/>
          </p:cNvSpPr>
          <p:nvPr>
            <p:ph type="subTitle" idx="1"/>
          </p:nvPr>
        </p:nvSpPr>
        <p:spPr/>
        <p:txBody>
          <a:bodyPr/>
          <a:lstStyle/>
          <a:p>
            <a:endParaRPr lang="en-US"/>
          </a:p>
        </p:txBody>
      </p:sp>
    </p:spTree>
    <p:extLst>
      <p:ext uri="{BB962C8B-B14F-4D97-AF65-F5344CB8AC3E}">
        <p14:creationId xmlns:p14="http://schemas.microsoft.com/office/powerpoint/2010/main" val="179033348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WHO WE ARE</a:t>
            </a:r>
          </a:p>
        </p:txBody>
      </p:sp>
      <p:sp>
        <p:nvSpPr>
          <p:cNvPr id="6" name="Footer Placeholder 5"/>
          <p:cNvSpPr>
            <a:spLocks noGrp="1"/>
          </p:cNvSpPr>
          <p:nvPr>
            <p:ph type="ftr" sz="quarter" idx="3"/>
          </p:nvPr>
        </p:nvSpPr>
        <p:spPr/>
        <p:txBody>
          <a:bodyPr/>
          <a:lstStyle/>
          <a:p>
            <a:r>
              <a:rPr lang="en-US"/>
              <a:t>Confidential</a:t>
            </a:r>
          </a:p>
        </p:txBody>
      </p:sp>
      <p:grpSp>
        <p:nvGrpSpPr>
          <p:cNvPr id="8" name="Group 7"/>
          <p:cNvGrpSpPr/>
          <p:nvPr/>
        </p:nvGrpSpPr>
        <p:grpSpPr>
          <a:xfrm>
            <a:off x="507999" y="1438275"/>
            <a:ext cx="4107543" cy="4570640"/>
            <a:chOff x="507999" y="1438275"/>
            <a:chExt cx="4107543" cy="4570640"/>
          </a:xfrm>
        </p:grpSpPr>
        <p:sp>
          <p:nvSpPr>
            <p:cNvPr id="4" name="Rectangle: Rounded Corners 3"/>
            <p:cNvSpPr/>
            <p:nvPr/>
          </p:nvSpPr>
          <p:spPr>
            <a:xfrm>
              <a:off x="507999" y="1438275"/>
              <a:ext cx="4107543" cy="4570640"/>
            </a:xfrm>
            <a:prstGeom prst="roundRect">
              <a:avLst>
                <a:gd name="adj" fmla="val 928"/>
              </a:avLst>
            </a:prstGeom>
            <a:solidFill>
              <a:schemeClr val="bg2"/>
            </a:solidFill>
            <a:ln w="25400">
              <a:noFill/>
              <a:headEnd type="triangle"/>
              <a:tailEnd type="none"/>
            </a:ln>
            <a:effectLst>
              <a:outerShdw blurRad="50800" dist="12700" dir="5400000" algn="t" rotWithShape="0">
                <a:prstClr val="black">
                  <a:alpha val="10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a:spcAft>
                  <a:spcPts val="600"/>
                </a:spcAft>
              </a:pPr>
              <a:r>
                <a:rPr lang="en-US" sz="2400">
                  <a:solidFill>
                    <a:schemeClr val="tx2"/>
                  </a:solidFill>
                  <a:latin typeface="Segoe UI Semibold" panose="020B0702040204020203" pitchFamily="34" charset="0"/>
                  <a:cs typeface="Segoe UI Semibold" panose="020B0702040204020203" pitchFamily="34" charset="0"/>
                </a:rPr>
                <a:t>Global Services</a:t>
              </a:r>
            </a:p>
            <a:p>
              <a:r>
                <a:rPr lang="en-US" sz="2000" kern="0">
                  <a:solidFill>
                    <a:srgbClr val="595959"/>
                  </a:solidFill>
                </a:rPr>
                <a:t>Valorem helps </a:t>
              </a:r>
              <a:r>
                <a:rPr lang="en-US" sz="2000" b="1" kern="0">
                  <a:solidFill>
                    <a:srgbClr val="595959"/>
                  </a:solidFill>
                </a:rPr>
                <a:t>clients realize value </a:t>
              </a:r>
              <a:r>
                <a:rPr lang="en-US" sz="2000" kern="0">
                  <a:solidFill>
                    <a:srgbClr val="595959"/>
                  </a:solidFill>
                </a:rPr>
                <a:t>through business technology solutions. Collectively our people have worked with </a:t>
              </a:r>
              <a:r>
                <a:rPr lang="en-US" sz="2000" b="1" i="1" kern="0">
                  <a:solidFill>
                    <a:srgbClr val="595959"/>
                  </a:solidFill>
                </a:rPr>
                <a:t>thousands of enterprises around the world delivering innovative, insightful and technical services.</a:t>
              </a:r>
              <a:endParaRPr lang="en-US" sz="2000">
                <a:solidFill>
                  <a:schemeClr val="accent2"/>
                </a:solidFill>
                <a:latin typeface="Segoe UI Semibold" panose="020B0702040204020203" pitchFamily="34" charset="0"/>
                <a:cs typeface="Segoe UI Semibold" panose="020B0702040204020203" pitchFamily="34" charset="0"/>
              </a:endParaRPr>
            </a:p>
          </p:txBody>
        </p:sp>
        <p:sp>
          <p:nvSpPr>
            <p:cNvPr id="19" name="Freeform 17"/>
            <p:cNvSpPr>
              <a:spLocks noEditPoints="1"/>
            </p:cNvSpPr>
            <p:nvPr/>
          </p:nvSpPr>
          <p:spPr bwMode="auto">
            <a:xfrm>
              <a:off x="3678464" y="5211989"/>
              <a:ext cx="774700" cy="667885"/>
            </a:xfrm>
            <a:custGeom>
              <a:avLst/>
              <a:gdLst>
                <a:gd name="T0" fmla="*/ 366 w 1143"/>
                <a:gd name="T1" fmla="*/ 867 h 986"/>
                <a:gd name="T2" fmla="*/ 350 w 1143"/>
                <a:gd name="T3" fmla="*/ 806 h 986"/>
                <a:gd name="T4" fmla="*/ 61 w 1143"/>
                <a:gd name="T5" fmla="*/ 785 h 986"/>
                <a:gd name="T6" fmla="*/ 0 w 1143"/>
                <a:gd name="T7" fmla="*/ 532 h 986"/>
                <a:gd name="T8" fmla="*/ 189 w 1143"/>
                <a:gd name="T9" fmla="*/ 413 h 986"/>
                <a:gd name="T10" fmla="*/ 368 w 1143"/>
                <a:gd name="T11" fmla="*/ 405 h 986"/>
                <a:gd name="T12" fmla="*/ 536 w 1143"/>
                <a:gd name="T13" fmla="*/ 367 h 986"/>
                <a:gd name="T14" fmla="*/ 903 w 1143"/>
                <a:gd name="T15" fmla="*/ 413 h 986"/>
                <a:gd name="T16" fmla="*/ 1137 w 1143"/>
                <a:gd name="T17" fmla="*/ 535 h 986"/>
                <a:gd name="T18" fmla="*/ 933 w 1143"/>
                <a:gd name="T19" fmla="*/ 874 h 986"/>
                <a:gd name="T20" fmla="*/ 766 w 1143"/>
                <a:gd name="T21" fmla="*/ 864 h 986"/>
                <a:gd name="T22" fmla="*/ 557 w 1143"/>
                <a:gd name="T23" fmla="*/ 986 h 986"/>
                <a:gd name="T24" fmla="*/ 574 w 1143"/>
                <a:gd name="T25" fmla="*/ 949 h 986"/>
                <a:gd name="T26" fmla="*/ 815 w 1143"/>
                <a:gd name="T27" fmla="*/ 516 h 986"/>
                <a:gd name="T28" fmla="*/ 537 w 1143"/>
                <a:gd name="T29" fmla="*/ 403 h 986"/>
                <a:gd name="T30" fmla="*/ 319 w 1143"/>
                <a:gd name="T31" fmla="*/ 519 h 986"/>
                <a:gd name="T32" fmla="*/ 807 w 1143"/>
                <a:gd name="T33" fmla="*/ 771 h 986"/>
                <a:gd name="T34" fmla="*/ 1041 w 1143"/>
                <a:gd name="T35" fmla="*/ 772 h 986"/>
                <a:gd name="T36" fmla="*/ 1097 w 1143"/>
                <a:gd name="T37" fmla="*/ 501 h 986"/>
                <a:gd name="T38" fmla="*/ 838 w 1143"/>
                <a:gd name="T39" fmla="*/ 458 h 986"/>
                <a:gd name="T40" fmla="*/ 798 w 1143"/>
                <a:gd name="T41" fmla="*/ 733 h 986"/>
                <a:gd name="T42" fmla="*/ 94 w 1143"/>
                <a:gd name="T43" fmla="*/ 771 h 986"/>
                <a:gd name="T44" fmla="*/ 327 w 1143"/>
                <a:gd name="T45" fmla="*/ 772 h 986"/>
                <a:gd name="T46" fmla="*/ 336 w 1143"/>
                <a:gd name="T47" fmla="*/ 744 h 986"/>
                <a:gd name="T48" fmla="*/ 283 w 1143"/>
                <a:gd name="T49" fmla="*/ 520 h 986"/>
                <a:gd name="T50" fmla="*/ 191 w 1143"/>
                <a:gd name="T51" fmla="*/ 449 h 986"/>
                <a:gd name="T52" fmla="*/ 94 w 1143"/>
                <a:gd name="T53" fmla="*/ 771 h 986"/>
                <a:gd name="T54" fmla="*/ 793 w 1143"/>
                <a:gd name="T55" fmla="*/ 262 h 986"/>
                <a:gd name="T56" fmla="*/ 1058 w 1143"/>
                <a:gd name="T57" fmla="*/ 262 h 986"/>
                <a:gd name="T58" fmla="*/ 926 w 1143"/>
                <a:gd name="T59" fmla="*/ 165 h 986"/>
                <a:gd name="T60" fmla="*/ 926 w 1143"/>
                <a:gd name="T61" fmla="*/ 359 h 986"/>
                <a:gd name="T62" fmla="*/ 926 w 1143"/>
                <a:gd name="T63" fmla="*/ 165 h 986"/>
                <a:gd name="T64" fmla="*/ 80 w 1143"/>
                <a:gd name="T65" fmla="*/ 262 h 986"/>
                <a:gd name="T66" fmla="*/ 345 w 1143"/>
                <a:gd name="T67" fmla="*/ 262 h 986"/>
                <a:gd name="T68" fmla="*/ 212 w 1143"/>
                <a:gd name="T69" fmla="*/ 165 h 986"/>
                <a:gd name="T70" fmla="*/ 212 w 1143"/>
                <a:gd name="T71" fmla="*/ 359 h 986"/>
                <a:gd name="T72" fmla="*/ 212 w 1143"/>
                <a:gd name="T73" fmla="*/ 165 h 986"/>
                <a:gd name="T74" fmla="*/ 392 w 1143"/>
                <a:gd name="T75" fmla="*/ 175 h 986"/>
                <a:gd name="T76" fmla="*/ 742 w 1143"/>
                <a:gd name="T77" fmla="*/ 175 h 986"/>
                <a:gd name="T78" fmla="*/ 567 w 1143"/>
                <a:gd name="T79" fmla="*/ 36 h 986"/>
                <a:gd name="T80" fmla="*/ 567 w 1143"/>
                <a:gd name="T81" fmla="*/ 315 h 986"/>
                <a:gd name="T82" fmla="*/ 567 w 1143"/>
                <a:gd name="T83" fmla="*/ 36 h 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43" h="986">
                  <a:moveTo>
                    <a:pt x="557" y="986"/>
                  </a:moveTo>
                  <a:cubicBezTo>
                    <a:pt x="473" y="986"/>
                    <a:pt x="404" y="943"/>
                    <a:pt x="366" y="867"/>
                  </a:cubicBezTo>
                  <a:cubicBezTo>
                    <a:pt x="365" y="865"/>
                    <a:pt x="365" y="865"/>
                    <a:pt x="365" y="865"/>
                  </a:cubicBezTo>
                  <a:cubicBezTo>
                    <a:pt x="350" y="806"/>
                    <a:pt x="350" y="806"/>
                    <a:pt x="350" y="806"/>
                  </a:cubicBezTo>
                  <a:cubicBezTo>
                    <a:pt x="326" y="842"/>
                    <a:pt x="274" y="870"/>
                    <a:pt x="220" y="874"/>
                  </a:cubicBezTo>
                  <a:cubicBezTo>
                    <a:pt x="150" y="880"/>
                    <a:pt x="92" y="847"/>
                    <a:pt x="61" y="785"/>
                  </a:cubicBezTo>
                  <a:cubicBezTo>
                    <a:pt x="60" y="783"/>
                    <a:pt x="60" y="783"/>
                    <a:pt x="60" y="783"/>
                  </a:cubicBezTo>
                  <a:cubicBezTo>
                    <a:pt x="0" y="532"/>
                    <a:pt x="0" y="532"/>
                    <a:pt x="0" y="532"/>
                  </a:cubicBezTo>
                  <a:cubicBezTo>
                    <a:pt x="0" y="529"/>
                    <a:pt x="0" y="529"/>
                    <a:pt x="0" y="529"/>
                  </a:cubicBezTo>
                  <a:cubicBezTo>
                    <a:pt x="4" y="461"/>
                    <a:pt x="75" y="417"/>
                    <a:pt x="189" y="413"/>
                  </a:cubicBezTo>
                  <a:cubicBezTo>
                    <a:pt x="237" y="411"/>
                    <a:pt x="288" y="418"/>
                    <a:pt x="329" y="430"/>
                  </a:cubicBezTo>
                  <a:cubicBezTo>
                    <a:pt x="340" y="421"/>
                    <a:pt x="353" y="412"/>
                    <a:pt x="368" y="405"/>
                  </a:cubicBezTo>
                  <a:cubicBezTo>
                    <a:pt x="411" y="383"/>
                    <a:pt x="469" y="370"/>
                    <a:pt x="536" y="367"/>
                  </a:cubicBezTo>
                  <a:cubicBezTo>
                    <a:pt x="536" y="367"/>
                    <a:pt x="536" y="367"/>
                    <a:pt x="536" y="367"/>
                  </a:cubicBezTo>
                  <a:cubicBezTo>
                    <a:pt x="631" y="364"/>
                    <a:pt x="747" y="384"/>
                    <a:pt x="808" y="429"/>
                  </a:cubicBezTo>
                  <a:cubicBezTo>
                    <a:pt x="836" y="420"/>
                    <a:pt x="868" y="415"/>
                    <a:pt x="903" y="413"/>
                  </a:cubicBezTo>
                  <a:cubicBezTo>
                    <a:pt x="983" y="410"/>
                    <a:pt x="1087" y="429"/>
                    <a:pt x="1125" y="478"/>
                  </a:cubicBezTo>
                  <a:cubicBezTo>
                    <a:pt x="1138" y="496"/>
                    <a:pt x="1143" y="515"/>
                    <a:pt x="1137" y="535"/>
                  </a:cubicBezTo>
                  <a:cubicBezTo>
                    <a:pt x="1075" y="782"/>
                    <a:pt x="1075" y="782"/>
                    <a:pt x="1075" y="782"/>
                  </a:cubicBezTo>
                  <a:cubicBezTo>
                    <a:pt x="1060" y="830"/>
                    <a:pt x="999" y="869"/>
                    <a:pt x="933" y="874"/>
                  </a:cubicBezTo>
                  <a:cubicBezTo>
                    <a:pt x="869" y="879"/>
                    <a:pt x="814" y="852"/>
                    <a:pt x="782" y="799"/>
                  </a:cubicBezTo>
                  <a:cubicBezTo>
                    <a:pt x="766" y="864"/>
                    <a:pt x="766" y="864"/>
                    <a:pt x="766" y="864"/>
                  </a:cubicBezTo>
                  <a:cubicBezTo>
                    <a:pt x="745" y="926"/>
                    <a:pt x="664" y="978"/>
                    <a:pt x="577" y="985"/>
                  </a:cubicBezTo>
                  <a:cubicBezTo>
                    <a:pt x="570" y="986"/>
                    <a:pt x="564" y="986"/>
                    <a:pt x="557" y="986"/>
                  </a:cubicBezTo>
                  <a:close/>
                  <a:moveTo>
                    <a:pt x="399" y="852"/>
                  </a:moveTo>
                  <a:cubicBezTo>
                    <a:pt x="446" y="945"/>
                    <a:pt x="529" y="953"/>
                    <a:pt x="574" y="949"/>
                  </a:cubicBezTo>
                  <a:cubicBezTo>
                    <a:pt x="646" y="944"/>
                    <a:pt x="715" y="902"/>
                    <a:pt x="731" y="854"/>
                  </a:cubicBezTo>
                  <a:cubicBezTo>
                    <a:pt x="815" y="516"/>
                    <a:pt x="815" y="516"/>
                    <a:pt x="815" y="516"/>
                  </a:cubicBezTo>
                  <a:cubicBezTo>
                    <a:pt x="819" y="502"/>
                    <a:pt x="816" y="489"/>
                    <a:pt x="806" y="476"/>
                  </a:cubicBezTo>
                  <a:cubicBezTo>
                    <a:pt x="771" y="430"/>
                    <a:pt x="655" y="399"/>
                    <a:pt x="537" y="403"/>
                  </a:cubicBezTo>
                  <a:cubicBezTo>
                    <a:pt x="537" y="403"/>
                    <a:pt x="537" y="403"/>
                    <a:pt x="537" y="403"/>
                  </a:cubicBezTo>
                  <a:cubicBezTo>
                    <a:pt x="436" y="407"/>
                    <a:pt x="326" y="439"/>
                    <a:pt x="319" y="519"/>
                  </a:cubicBezTo>
                  <a:lnTo>
                    <a:pt x="399" y="852"/>
                  </a:lnTo>
                  <a:close/>
                  <a:moveTo>
                    <a:pt x="807" y="771"/>
                  </a:moveTo>
                  <a:cubicBezTo>
                    <a:pt x="841" y="835"/>
                    <a:pt x="899" y="841"/>
                    <a:pt x="930" y="838"/>
                  </a:cubicBezTo>
                  <a:cubicBezTo>
                    <a:pt x="981" y="834"/>
                    <a:pt x="1030" y="805"/>
                    <a:pt x="1041" y="772"/>
                  </a:cubicBezTo>
                  <a:cubicBezTo>
                    <a:pt x="1102" y="525"/>
                    <a:pt x="1102" y="525"/>
                    <a:pt x="1102" y="525"/>
                  </a:cubicBezTo>
                  <a:cubicBezTo>
                    <a:pt x="1105" y="516"/>
                    <a:pt x="1103" y="509"/>
                    <a:pt x="1097" y="501"/>
                  </a:cubicBezTo>
                  <a:cubicBezTo>
                    <a:pt x="1072" y="469"/>
                    <a:pt x="987" y="446"/>
                    <a:pt x="904" y="449"/>
                  </a:cubicBezTo>
                  <a:cubicBezTo>
                    <a:pt x="880" y="450"/>
                    <a:pt x="858" y="453"/>
                    <a:pt x="838" y="458"/>
                  </a:cubicBezTo>
                  <a:cubicBezTo>
                    <a:pt x="852" y="479"/>
                    <a:pt x="856" y="502"/>
                    <a:pt x="850" y="526"/>
                  </a:cubicBezTo>
                  <a:cubicBezTo>
                    <a:pt x="798" y="733"/>
                    <a:pt x="798" y="733"/>
                    <a:pt x="798" y="733"/>
                  </a:cubicBezTo>
                  <a:lnTo>
                    <a:pt x="807" y="771"/>
                  </a:lnTo>
                  <a:close/>
                  <a:moveTo>
                    <a:pt x="94" y="771"/>
                  </a:moveTo>
                  <a:cubicBezTo>
                    <a:pt x="127" y="835"/>
                    <a:pt x="185" y="841"/>
                    <a:pt x="217" y="838"/>
                  </a:cubicBezTo>
                  <a:cubicBezTo>
                    <a:pt x="268" y="834"/>
                    <a:pt x="316" y="805"/>
                    <a:pt x="327" y="772"/>
                  </a:cubicBezTo>
                  <a:cubicBezTo>
                    <a:pt x="335" y="743"/>
                    <a:pt x="335" y="743"/>
                    <a:pt x="335" y="743"/>
                  </a:cubicBezTo>
                  <a:cubicBezTo>
                    <a:pt x="336" y="744"/>
                    <a:pt x="336" y="744"/>
                    <a:pt x="336" y="744"/>
                  </a:cubicBezTo>
                  <a:cubicBezTo>
                    <a:pt x="282" y="522"/>
                    <a:pt x="282" y="522"/>
                    <a:pt x="282" y="522"/>
                  </a:cubicBezTo>
                  <a:cubicBezTo>
                    <a:pt x="283" y="520"/>
                    <a:pt x="283" y="520"/>
                    <a:pt x="283" y="520"/>
                  </a:cubicBezTo>
                  <a:cubicBezTo>
                    <a:pt x="284" y="498"/>
                    <a:pt x="291" y="478"/>
                    <a:pt x="302" y="460"/>
                  </a:cubicBezTo>
                  <a:cubicBezTo>
                    <a:pt x="268" y="452"/>
                    <a:pt x="229" y="448"/>
                    <a:pt x="191" y="449"/>
                  </a:cubicBezTo>
                  <a:cubicBezTo>
                    <a:pt x="119" y="452"/>
                    <a:pt x="41" y="474"/>
                    <a:pt x="36" y="529"/>
                  </a:cubicBezTo>
                  <a:lnTo>
                    <a:pt x="94" y="771"/>
                  </a:lnTo>
                  <a:close/>
                  <a:moveTo>
                    <a:pt x="926" y="395"/>
                  </a:moveTo>
                  <a:cubicBezTo>
                    <a:pt x="853" y="395"/>
                    <a:pt x="793" y="335"/>
                    <a:pt x="793" y="262"/>
                  </a:cubicBezTo>
                  <a:cubicBezTo>
                    <a:pt x="793" y="189"/>
                    <a:pt x="853" y="129"/>
                    <a:pt x="926" y="129"/>
                  </a:cubicBezTo>
                  <a:cubicBezTo>
                    <a:pt x="999" y="129"/>
                    <a:pt x="1058" y="189"/>
                    <a:pt x="1058" y="262"/>
                  </a:cubicBezTo>
                  <a:cubicBezTo>
                    <a:pt x="1058" y="335"/>
                    <a:pt x="999" y="395"/>
                    <a:pt x="926" y="395"/>
                  </a:cubicBezTo>
                  <a:close/>
                  <a:moveTo>
                    <a:pt x="926" y="165"/>
                  </a:moveTo>
                  <a:cubicBezTo>
                    <a:pt x="873" y="165"/>
                    <a:pt x="829" y="209"/>
                    <a:pt x="829" y="262"/>
                  </a:cubicBezTo>
                  <a:cubicBezTo>
                    <a:pt x="829" y="315"/>
                    <a:pt x="873" y="359"/>
                    <a:pt x="926" y="359"/>
                  </a:cubicBezTo>
                  <a:cubicBezTo>
                    <a:pt x="979" y="359"/>
                    <a:pt x="1022" y="315"/>
                    <a:pt x="1022" y="262"/>
                  </a:cubicBezTo>
                  <a:cubicBezTo>
                    <a:pt x="1022" y="209"/>
                    <a:pt x="979" y="165"/>
                    <a:pt x="926" y="165"/>
                  </a:cubicBezTo>
                  <a:close/>
                  <a:moveTo>
                    <a:pt x="212" y="395"/>
                  </a:moveTo>
                  <a:cubicBezTo>
                    <a:pt x="139" y="395"/>
                    <a:pt x="80" y="335"/>
                    <a:pt x="80" y="262"/>
                  </a:cubicBezTo>
                  <a:cubicBezTo>
                    <a:pt x="80" y="189"/>
                    <a:pt x="139" y="129"/>
                    <a:pt x="212" y="129"/>
                  </a:cubicBezTo>
                  <a:cubicBezTo>
                    <a:pt x="285" y="129"/>
                    <a:pt x="345" y="189"/>
                    <a:pt x="345" y="262"/>
                  </a:cubicBezTo>
                  <a:cubicBezTo>
                    <a:pt x="345" y="335"/>
                    <a:pt x="285" y="395"/>
                    <a:pt x="212" y="395"/>
                  </a:cubicBezTo>
                  <a:close/>
                  <a:moveTo>
                    <a:pt x="212" y="165"/>
                  </a:moveTo>
                  <a:cubicBezTo>
                    <a:pt x="159" y="165"/>
                    <a:pt x="116" y="209"/>
                    <a:pt x="116" y="262"/>
                  </a:cubicBezTo>
                  <a:cubicBezTo>
                    <a:pt x="116" y="315"/>
                    <a:pt x="159" y="359"/>
                    <a:pt x="212" y="359"/>
                  </a:cubicBezTo>
                  <a:cubicBezTo>
                    <a:pt x="265" y="359"/>
                    <a:pt x="309" y="315"/>
                    <a:pt x="309" y="262"/>
                  </a:cubicBezTo>
                  <a:cubicBezTo>
                    <a:pt x="309" y="209"/>
                    <a:pt x="265" y="165"/>
                    <a:pt x="212" y="165"/>
                  </a:cubicBezTo>
                  <a:close/>
                  <a:moveTo>
                    <a:pt x="567" y="351"/>
                  </a:moveTo>
                  <a:cubicBezTo>
                    <a:pt x="471" y="351"/>
                    <a:pt x="392" y="272"/>
                    <a:pt x="392" y="175"/>
                  </a:cubicBezTo>
                  <a:cubicBezTo>
                    <a:pt x="392" y="79"/>
                    <a:pt x="471" y="0"/>
                    <a:pt x="567" y="0"/>
                  </a:cubicBezTo>
                  <a:cubicBezTo>
                    <a:pt x="663" y="0"/>
                    <a:pt x="742" y="79"/>
                    <a:pt x="742" y="175"/>
                  </a:cubicBezTo>
                  <a:cubicBezTo>
                    <a:pt x="742" y="272"/>
                    <a:pt x="663" y="351"/>
                    <a:pt x="567" y="351"/>
                  </a:cubicBezTo>
                  <a:close/>
                  <a:moveTo>
                    <a:pt x="567" y="36"/>
                  </a:moveTo>
                  <a:cubicBezTo>
                    <a:pt x="490" y="36"/>
                    <a:pt x="428" y="99"/>
                    <a:pt x="428" y="175"/>
                  </a:cubicBezTo>
                  <a:cubicBezTo>
                    <a:pt x="428" y="252"/>
                    <a:pt x="490" y="315"/>
                    <a:pt x="567" y="315"/>
                  </a:cubicBezTo>
                  <a:cubicBezTo>
                    <a:pt x="643" y="315"/>
                    <a:pt x="706" y="252"/>
                    <a:pt x="706" y="175"/>
                  </a:cubicBezTo>
                  <a:cubicBezTo>
                    <a:pt x="706" y="99"/>
                    <a:pt x="643" y="36"/>
                    <a:pt x="567" y="3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0" cap="none" normalizeH="0" baseline="0" noProof="0">
                <a:ln>
                  <a:noFill/>
                </a:ln>
                <a:solidFill>
                  <a:sysClr val="windowText" lastClr="000000"/>
                </a:solidFill>
                <a:effectLst/>
                <a:uLnTx/>
                <a:uFillTx/>
                <a:latin typeface="Segoe UI"/>
                <a:ea typeface="+mn-ea"/>
                <a:cs typeface="+mn-cs"/>
              </a:endParaRPr>
            </a:p>
          </p:txBody>
        </p:sp>
      </p:grpSp>
      <p:grpSp>
        <p:nvGrpSpPr>
          <p:cNvPr id="9" name="Group 8"/>
          <p:cNvGrpSpPr/>
          <p:nvPr/>
        </p:nvGrpSpPr>
        <p:grpSpPr>
          <a:xfrm>
            <a:off x="4760685" y="1438275"/>
            <a:ext cx="6923315" cy="4570640"/>
            <a:chOff x="4760685" y="1438275"/>
            <a:chExt cx="6923315" cy="4570640"/>
          </a:xfrm>
        </p:grpSpPr>
        <p:sp>
          <p:nvSpPr>
            <p:cNvPr id="18" name="Rectangle: Rounded Corners 17"/>
            <p:cNvSpPr/>
            <p:nvPr/>
          </p:nvSpPr>
          <p:spPr>
            <a:xfrm>
              <a:off x="4760685" y="1438275"/>
              <a:ext cx="6923315" cy="4570640"/>
            </a:xfrm>
            <a:prstGeom prst="roundRect">
              <a:avLst>
                <a:gd name="adj" fmla="val 605"/>
              </a:avLst>
            </a:prstGeom>
            <a:solidFill>
              <a:schemeClr val="bg2"/>
            </a:solidFill>
            <a:ln w="25400">
              <a:noFill/>
              <a:headEnd type="triangle"/>
              <a:tailEnd type="none"/>
            </a:ln>
            <a:effectLst>
              <a:outerShdw blurRad="50800" dist="12700" dir="5400000" algn="t" rotWithShape="0">
                <a:prstClr val="black">
                  <a:alpha val="10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a:spcAft>
                  <a:spcPts val="1000"/>
                </a:spcAft>
              </a:pPr>
              <a:r>
                <a:rPr lang="en-US" sz="2400">
                  <a:solidFill>
                    <a:schemeClr val="tx2"/>
                  </a:solidFill>
                  <a:latin typeface="Segoe UI Semibold" panose="020B0702040204020203" pitchFamily="34" charset="0"/>
                  <a:cs typeface="Segoe UI Semibold" panose="020B0702040204020203" pitchFamily="34" charset="0"/>
                </a:rPr>
                <a:t>Recent Awards</a:t>
              </a:r>
              <a:endParaRPr lang="en-US" sz="2000" b="1" kern="0">
                <a:solidFill>
                  <a:srgbClr val="4C8B2B"/>
                </a:solidFill>
              </a:endParaRPr>
            </a:p>
            <a:p>
              <a:pPr marL="347663" indent="-228600">
                <a:lnSpc>
                  <a:spcPct val="150000"/>
                </a:lnSpc>
                <a:buFont typeface="Arial" panose="020B0604020202020204" pitchFamily="34" charset="0"/>
                <a:buChar char="•"/>
              </a:pPr>
              <a:r>
                <a:rPr lang="en-US" sz="2000" b="1" kern="0">
                  <a:solidFill>
                    <a:srgbClr val="4C8B2B"/>
                  </a:solidFill>
                </a:rPr>
                <a:t>CRN: </a:t>
              </a:r>
              <a:r>
                <a:rPr lang="en-US" sz="2000" kern="0">
                  <a:solidFill>
                    <a:srgbClr val="595959"/>
                  </a:solidFill>
                </a:rPr>
                <a:t>2017 Fast Growth 150 </a:t>
              </a:r>
              <a:endParaRPr lang="en-US" sz="2000" b="1" kern="0">
                <a:solidFill>
                  <a:srgbClr val="4C8B2B"/>
                </a:solidFill>
              </a:endParaRPr>
            </a:p>
            <a:p>
              <a:pPr marL="347663" indent="-228600">
                <a:lnSpc>
                  <a:spcPct val="150000"/>
                </a:lnSpc>
                <a:buFont typeface="Arial" panose="020B0604020202020204" pitchFamily="34" charset="0"/>
                <a:buChar char="•"/>
              </a:pPr>
              <a:r>
                <a:rPr lang="en-US" sz="2000" b="1" kern="0">
                  <a:solidFill>
                    <a:srgbClr val="4C8B2B"/>
                  </a:solidFill>
                </a:rPr>
                <a:t>CRN: </a:t>
              </a:r>
              <a:r>
                <a:rPr lang="en-US" sz="2000" kern="0">
                  <a:solidFill>
                    <a:srgbClr val="595959"/>
                  </a:solidFill>
                  <a:cs typeface="Segoe UI Semibold" panose="020B0702040204020203" pitchFamily="34" charset="0"/>
                </a:rPr>
                <a:t>2017 Solution Provider 500</a:t>
              </a:r>
            </a:p>
            <a:p>
              <a:pPr marL="347663" indent="-228600">
                <a:lnSpc>
                  <a:spcPct val="150000"/>
                </a:lnSpc>
                <a:buFont typeface="Arial" panose="020B0604020202020204" pitchFamily="34" charset="0"/>
                <a:buChar char="•"/>
              </a:pPr>
              <a:r>
                <a:rPr lang="en-US" sz="2000" b="1" kern="0">
                  <a:solidFill>
                    <a:schemeClr val="accent3"/>
                  </a:solidFill>
                  <a:cs typeface="Segoe UI Semibold" panose="020B0702040204020203" pitchFamily="34" charset="0"/>
                </a:rPr>
                <a:t>KC Business Journal: </a:t>
              </a:r>
              <a:r>
                <a:rPr lang="en-US" sz="2000" kern="0">
                  <a:solidFill>
                    <a:srgbClr val="595959"/>
                  </a:solidFill>
                  <a:cs typeface="Segoe UI Semibold" panose="020B0702040204020203" pitchFamily="34" charset="0"/>
                </a:rPr>
                <a:t>2017 Info Systems Firm (#4)</a:t>
              </a:r>
              <a:endParaRPr lang="en-US" sz="2000" kern="0">
                <a:solidFill>
                  <a:srgbClr val="4C8B2B"/>
                </a:solidFill>
              </a:endParaRPr>
            </a:p>
            <a:p>
              <a:pPr marL="347663" indent="-228600">
                <a:lnSpc>
                  <a:spcPct val="150000"/>
                </a:lnSpc>
                <a:buFont typeface="Arial" panose="020B0604020202020204" pitchFamily="34" charset="0"/>
                <a:buChar char="•"/>
              </a:pPr>
              <a:r>
                <a:rPr lang="en-US" sz="2000" b="1" kern="0">
                  <a:solidFill>
                    <a:srgbClr val="4C8B2B"/>
                  </a:solidFill>
                </a:rPr>
                <a:t>KC Business Journal: </a:t>
              </a:r>
              <a:r>
                <a:rPr lang="en-US" sz="2000" kern="0">
                  <a:solidFill>
                    <a:srgbClr val="595959"/>
                  </a:solidFill>
                </a:rPr>
                <a:t>2016 Fastest Growing</a:t>
              </a:r>
              <a:endParaRPr lang="en-US" sz="2000" b="1" kern="0">
                <a:solidFill>
                  <a:srgbClr val="4C8B2B"/>
                </a:solidFill>
              </a:endParaRPr>
            </a:p>
            <a:p>
              <a:pPr marL="347663" indent="-228600">
                <a:lnSpc>
                  <a:spcPct val="150000"/>
                </a:lnSpc>
                <a:buFont typeface="Arial" panose="020B0604020202020204" pitchFamily="34" charset="0"/>
                <a:buChar char="•"/>
              </a:pPr>
              <a:r>
                <a:rPr lang="en-US" sz="2000" b="1" kern="0">
                  <a:solidFill>
                    <a:srgbClr val="4C8B2B"/>
                  </a:solidFill>
                </a:rPr>
                <a:t>Redmond Channel Partner: </a:t>
              </a:r>
              <a:r>
                <a:rPr lang="en-US" sz="2000" kern="0">
                  <a:solidFill>
                    <a:srgbClr val="595959"/>
                  </a:solidFill>
                  <a:cs typeface="Segoe UI Semibold" panose="020B0702040204020203" pitchFamily="34" charset="0"/>
                </a:rPr>
                <a:t>2016 Top 200 US</a:t>
              </a:r>
              <a:br>
                <a:rPr lang="en-US" sz="2000" kern="0">
                  <a:solidFill>
                    <a:srgbClr val="595959"/>
                  </a:solidFill>
                  <a:cs typeface="Segoe UI Semibold" panose="020B0702040204020203" pitchFamily="34" charset="0"/>
                </a:rPr>
              </a:br>
              <a:r>
                <a:rPr lang="en-US" sz="2000" kern="0">
                  <a:solidFill>
                    <a:srgbClr val="595959"/>
                  </a:solidFill>
                  <a:cs typeface="Segoe UI Semibold" panose="020B0702040204020203" pitchFamily="34" charset="0"/>
                </a:rPr>
                <a:t>MS Partners</a:t>
              </a:r>
            </a:p>
            <a:p>
              <a:pPr marL="347663" indent="-228600">
                <a:lnSpc>
                  <a:spcPct val="150000"/>
                </a:lnSpc>
                <a:buFont typeface="Arial" panose="020B0604020202020204" pitchFamily="34" charset="0"/>
                <a:buChar char="•"/>
              </a:pPr>
              <a:r>
                <a:rPr lang="en-US" sz="2000" b="1" kern="0">
                  <a:solidFill>
                    <a:srgbClr val="4C8B2B"/>
                  </a:solidFill>
                </a:rPr>
                <a:t>Microsoft DX EIP Elite Partner</a:t>
              </a:r>
              <a:endParaRPr lang="en-US" sz="2000">
                <a:solidFill>
                  <a:schemeClr val="accent2"/>
                </a:solidFill>
                <a:latin typeface="Segoe UI Semibold" panose="020B0702040204020203" pitchFamily="34" charset="0"/>
                <a:cs typeface="Segoe UI Semibold" panose="020B0702040204020203" pitchFamily="34" charset="0"/>
              </a:endParaRPr>
            </a:p>
          </p:txBody>
        </p:sp>
        <p:grpSp>
          <p:nvGrpSpPr>
            <p:cNvPr id="20" name="Group 135"/>
            <p:cNvGrpSpPr>
              <a:grpSpLocks noChangeAspect="1"/>
            </p:cNvGrpSpPr>
            <p:nvPr/>
          </p:nvGrpSpPr>
          <p:grpSpPr bwMode="auto">
            <a:xfrm>
              <a:off x="10921093" y="5211989"/>
              <a:ext cx="622300" cy="611854"/>
              <a:chOff x="5102" y="2638"/>
              <a:chExt cx="2502" cy="2460"/>
            </a:xfrm>
            <a:solidFill>
              <a:schemeClr val="accent3"/>
            </a:solidFill>
          </p:grpSpPr>
          <p:sp>
            <p:nvSpPr>
              <p:cNvPr id="21" name="Freeform 136"/>
              <p:cNvSpPr>
                <a:spLocks noEditPoints="1"/>
              </p:cNvSpPr>
              <p:nvPr/>
            </p:nvSpPr>
            <p:spPr bwMode="auto">
              <a:xfrm>
                <a:off x="5102" y="2638"/>
                <a:ext cx="2502" cy="1712"/>
              </a:xfrm>
              <a:custGeom>
                <a:avLst/>
                <a:gdLst>
                  <a:gd name="T0" fmla="*/ 930 w 1060"/>
                  <a:gd name="T1" fmla="*/ 726 h 726"/>
                  <a:gd name="T2" fmla="*/ 930 w 1060"/>
                  <a:gd name="T3" fmla="*/ 694 h 726"/>
                  <a:gd name="T4" fmla="*/ 1028 w 1060"/>
                  <a:gd name="T5" fmla="*/ 32 h 726"/>
                  <a:gd name="T6" fmla="*/ 32 w 1060"/>
                  <a:gd name="T7" fmla="*/ 694 h 726"/>
                  <a:gd name="T8" fmla="*/ 771 w 1060"/>
                  <a:gd name="T9" fmla="*/ 710 h 726"/>
                  <a:gd name="T10" fmla="*/ 16 w 1060"/>
                  <a:gd name="T11" fmla="*/ 726 h 726"/>
                  <a:gd name="T12" fmla="*/ 0 w 1060"/>
                  <a:gd name="T13" fmla="*/ 16 h 726"/>
                  <a:gd name="T14" fmla="*/ 1044 w 1060"/>
                  <a:gd name="T15" fmla="*/ 0 h 726"/>
                  <a:gd name="T16" fmla="*/ 1060 w 1060"/>
                  <a:gd name="T17" fmla="*/ 710 h 726"/>
                  <a:gd name="T18" fmla="*/ 466 w 1060"/>
                  <a:gd name="T19" fmla="*/ 601 h 726"/>
                  <a:gd name="T20" fmla="*/ 104 w 1060"/>
                  <a:gd name="T21" fmla="*/ 585 h 726"/>
                  <a:gd name="T22" fmla="*/ 466 w 1060"/>
                  <a:gd name="T23" fmla="*/ 569 h 726"/>
                  <a:gd name="T24" fmla="*/ 466 w 1060"/>
                  <a:gd name="T25" fmla="*/ 601 h 726"/>
                  <a:gd name="T26" fmla="*/ 120 w 1060"/>
                  <a:gd name="T27" fmla="*/ 522 h 726"/>
                  <a:gd name="T28" fmla="*/ 120 w 1060"/>
                  <a:gd name="T29" fmla="*/ 490 h 726"/>
                  <a:gd name="T30" fmla="*/ 590 w 1060"/>
                  <a:gd name="T31" fmla="*/ 506 h 726"/>
                  <a:gd name="T32" fmla="*/ 574 w 1060"/>
                  <a:gd name="T33" fmla="*/ 443 h 726"/>
                  <a:gd name="T34" fmla="*/ 104 w 1060"/>
                  <a:gd name="T35" fmla="*/ 427 h 726"/>
                  <a:gd name="T36" fmla="*/ 574 w 1060"/>
                  <a:gd name="T37" fmla="*/ 411 h 726"/>
                  <a:gd name="T38" fmla="*/ 574 w 1060"/>
                  <a:gd name="T39" fmla="*/ 443 h 726"/>
                  <a:gd name="T40" fmla="*/ 120 w 1060"/>
                  <a:gd name="T41" fmla="*/ 364 h 726"/>
                  <a:gd name="T42" fmla="*/ 120 w 1060"/>
                  <a:gd name="T43" fmla="*/ 332 h 726"/>
                  <a:gd name="T44" fmla="*/ 956 w 1060"/>
                  <a:gd name="T45" fmla="*/ 348 h 726"/>
                  <a:gd name="T46" fmla="*/ 940 w 1060"/>
                  <a:gd name="T47" fmla="*/ 286 h 726"/>
                  <a:gd name="T48" fmla="*/ 104 w 1060"/>
                  <a:gd name="T49" fmla="*/ 270 h 726"/>
                  <a:gd name="T50" fmla="*/ 940 w 1060"/>
                  <a:gd name="T51" fmla="*/ 254 h 726"/>
                  <a:gd name="T52" fmla="*/ 940 w 1060"/>
                  <a:gd name="T53" fmla="*/ 286 h 726"/>
                  <a:gd name="T54" fmla="*/ 120 w 1060"/>
                  <a:gd name="T55" fmla="*/ 207 h 726"/>
                  <a:gd name="T56" fmla="*/ 120 w 1060"/>
                  <a:gd name="T57" fmla="*/ 175 h 726"/>
                  <a:gd name="T58" fmla="*/ 956 w 1060"/>
                  <a:gd name="T59" fmla="*/ 191 h 726"/>
                  <a:gd name="T60" fmla="*/ 940 w 1060"/>
                  <a:gd name="T61" fmla="*/ 128 h 726"/>
                  <a:gd name="T62" fmla="*/ 104 w 1060"/>
                  <a:gd name="T63" fmla="*/ 112 h 726"/>
                  <a:gd name="T64" fmla="*/ 940 w 1060"/>
                  <a:gd name="T65" fmla="*/ 96 h 726"/>
                  <a:gd name="T66" fmla="*/ 940 w 1060"/>
                  <a:gd name="T67" fmla="*/ 128 h 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0" h="726">
                    <a:moveTo>
                      <a:pt x="1044" y="726"/>
                    </a:moveTo>
                    <a:cubicBezTo>
                      <a:pt x="930" y="726"/>
                      <a:pt x="930" y="726"/>
                      <a:pt x="930" y="726"/>
                    </a:cubicBezTo>
                    <a:cubicBezTo>
                      <a:pt x="921" y="726"/>
                      <a:pt x="914" y="719"/>
                      <a:pt x="914" y="710"/>
                    </a:cubicBezTo>
                    <a:cubicBezTo>
                      <a:pt x="914" y="701"/>
                      <a:pt x="921" y="694"/>
                      <a:pt x="930" y="694"/>
                    </a:cubicBezTo>
                    <a:cubicBezTo>
                      <a:pt x="1028" y="694"/>
                      <a:pt x="1028" y="694"/>
                      <a:pt x="1028" y="694"/>
                    </a:cubicBezTo>
                    <a:cubicBezTo>
                      <a:pt x="1028" y="32"/>
                      <a:pt x="1028" y="32"/>
                      <a:pt x="1028" y="32"/>
                    </a:cubicBezTo>
                    <a:cubicBezTo>
                      <a:pt x="32" y="32"/>
                      <a:pt x="32" y="32"/>
                      <a:pt x="32" y="32"/>
                    </a:cubicBezTo>
                    <a:cubicBezTo>
                      <a:pt x="32" y="694"/>
                      <a:pt x="32" y="694"/>
                      <a:pt x="32" y="694"/>
                    </a:cubicBezTo>
                    <a:cubicBezTo>
                      <a:pt x="755" y="694"/>
                      <a:pt x="755" y="694"/>
                      <a:pt x="755" y="694"/>
                    </a:cubicBezTo>
                    <a:cubicBezTo>
                      <a:pt x="764" y="694"/>
                      <a:pt x="771" y="701"/>
                      <a:pt x="771" y="710"/>
                    </a:cubicBezTo>
                    <a:cubicBezTo>
                      <a:pt x="771" y="719"/>
                      <a:pt x="764" y="726"/>
                      <a:pt x="755" y="726"/>
                    </a:cubicBezTo>
                    <a:cubicBezTo>
                      <a:pt x="16" y="726"/>
                      <a:pt x="16" y="726"/>
                      <a:pt x="16" y="726"/>
                    </a:cubicBezTo>
                    <a:cubicBezTo>
                      <a:pt x="8" y="726"/>
                      <a:pt x="0" y="719"/>
                      <a:pt x="0" y="710"/>
                    </a:cubicBezTo>
                    <a:cubicBezTo>
                      <a:pt x="0" y="16"/>
                      <a:pt x="0" y="16"/>
                      <a:pt x="0" y="16"/>
                    </a:cubicBezTo>
                    <a:cubicBezTo>
                      <a:pt x="0" y="7"/>
                      <a:pt x="8" y="0"/>
                      <a:pt x="16" y="0"/>
                    </a:cubicBezTo>
                    <a:cubicBezTo>
                      <a:pt x="1044" y="0"/>
                      <a:pt x="1044" y="0"/>
                      <a:pt x="1044" y="0"/>
                    </a:cubicBezTo>
                    <a:cubicBezTo>
                      <a:pt x="1053" y="0"/>
                      <a:pt x="1060" y="7"/>
                      <a:pt x="1060" y="16"/>
                    </a:cubicBezTo>
                    <a:cubicBezTo>
                      <a:pt x="1060" y="710"/>
                      <a:pt x="1060" y="710"/>
                      <a:pt x="1060" y="710"/>
                    </a:cubicBezTo>
                    <a:cubicBezTo>
                      <a:pt x="1060" y="719"/>
                      <a:pt x="1053" y="726"/>
                      <a:pt x="1044" y="726"/>
                    </a:cubicBezTo>
                    <a:close/>
                    <a:moveTo>
                      <a:pt x="466" y="601"/>
                    </a:moveTo>
                    <a:cubicBezTo>
                      <a:pt x="120" y="601"/>
                      <a:pt x="120" y="601"/>
                      <a:pt x="120" y="601"/>
                    </a:cubicBezTo>
                    <a:cubicBezTo>
                      <a:pt x="111" y="601"/>
                      <a:pt x="104" y="594"/>
                      <a:pt x="104" y="585"/>
                    </a:cubicBezTo>
                    <a:cubicBezTo>
                      <a:pt x="104" y="576"/>
                      <a:pt x="111" y="569"/>
                      <a:pt x="120" y="569"/>
                    </a:cubicBezTo>
                    <a:cubicBezTo>
                      <a:pt x="466" y="569"/>
                      <a:pt x="466" y="569"/>
                      <a:pt x="466" y="569"/>
                    </a:cubicBezTo>
                    <a:cubicBezTo>
                      <a:pt x="474" y="569"/>
                      <a:pt x="482" y="576"/>
                      <a:pt x="482" y="585"/>
                    </a:cubicBezTo>
                    <a:cubicBezTo>
                      <a:pt x="482" y="594"/>
                      <a:pt x="474" y="601"/>
                      <a:pt x="466" y="601"/>
                    </a:cubicBezTo>
                    <a:close/>
                    <a:moveTo>
                      <a:pt x="574" y="522"/>
                    </a:moveTo>
                    <a:cubicBezTo>
                      <a:pt x="120" y="522"/>
                      <a:pt x="120" y="522"/>
                      <a:pt x="120" y="522"/>
                    </a:cubicBezTo>
                    <a:cubicBezTo>
                      <a:pt x="111" y="522"/>
                      <a:pt x="104" y="515"/>
                      <a:pt x="104" y="506"/>
                    </a:cubicBezTo>
                    <a:cubicBezTo>
                      <a:pt x="104" y="497"/>
                      <a:pt x="111" y="490"/>
                      <a:pt x="120" y="490"/>
                    </a:cubicBezTo>
                    <a:cubicBezTo>
                      <a:pt x="574" y="490"/>
                      <a:pt x="574" y="490"/>
                      <a:pt x="574" y="490"/>
                    </a:cubicBezTo>
                    <a:cubicBezTo>
                      <a:pt x="583" y="490"/>
                      <a:pt x="590" y="497"/>
                      <a:pt x="590" y="506"/>
                    </a:cubicBezTo>
                    <a:cubicBezTo>
                      <a:pt x="590" y="515"/>
                      <a:pt x="583" y="522"/>
                      <a:pt x="574" y="522"/>
                    </a:cubicBezTo>
                    <a:close/>
                    <a:moveTo>
                      <a:pt x="574" y="443"/>
                    </a:moveTo>
                    <a:cubicBezTo>
                      <a:pt x="120" y="443"/>
                      <a:pt x="120" y="443"/>
                      <a:pt x="120" y="443"/>
                    </a:cubicBezTo>
                    <a:cubicBezTo>
                      <a:pt x="111" y="443"/>
                      <a:pt x="104" y="436"/>
                      <a:pt x="104" y="427"/>
                    </a:cubicBezTo>
                    <a:cubicBezTo>
                      <a:pt x="104" y="418"/>
                      <a:pt x="111" y="411"/>
                      <a:pt x="120" y="411"/>
                    </a:cubicBezTo>
                    <a:cubicBezTo>
                      <a:pt x="574" y="411"/>
                      <a:pt x="574" y="411"/>
                      <a:pt x="574" y="411"/>
                    </a:cubicBezTo>
                    <a:cubicBezTo>
                      <a:pt x="583" y="411"/>
                      <a:pt x="590" y="418"/>
                      <a:pt x="590" y="427"/>
                    </a:cubicBezTo>
                    <a:cubicBezTo>
                      <a:pt x="590" y="436"/>
                      <a:pt x="583" y="443"/>
                      <a:pt x="574" y="443"/>
                    </a:cubicBezTo>
                    <a:close/>
                    <a:moveTo>
                      <a:pt x="940" y="364"/>
                    </a:moveTo>
                    <a:cubicBezTo>
                      <a:pt x="120" y="364"/>
                      <a:pt x="120" y="364"/>
                      <a:pt x="120" y="364"/>
                    </a:cubicBezTo>
                    <a:cubicBezTo>
                      <a:pt x="111" y="364"/>
                      <a:pt x="104" y="357"/>
                      <a:pt x="104" y="348"/>
                    </a:cubicBezTo>
                    <a:cubicBezTo>
                      <a:pt x="104" y="340"/>
                      <a:pt x="111" y="332"/>
                      <a:pt x="120" y="332"/>
                    </a:cubicBezTo>
                    <a:cubicBezTo>
                      <a:pt x="940" y="332"/>
                      <a:pt x="940" y="332"/>
                      <a:pt x="940" y="332"/>
                    </a:cubicBezTo>
                    <a:cubicBezTo>
                      <a:pt x="949" y="332"/>
                      <a:pt x="956" y="340"/>
                      <a:pt x="956" y="348"/>
                    </a:cubicBezTo>
                    <a:cubicBezTo>
                      <a:pt x="956" y="357"/>
                      <a:pt x="949" y="364"/>
                      <a:pt x="940" y="364"/>
                    </a:cubicBezTo>
                    <a:close/>
                    <a:moveTo>
                      <a:pt x="940" y="286"/>
                    </a:moveTo>
                    <a:cubicBezTo>
                      <a:pt x="120" y="286"/>
                      <a:pt x="120" y="286"/>
                      <a:pt x="120" y="286"/>
                    </a:cubicBezTo>
                    <a:cubicBezTo>
                      <a:pt x="111" y="286"/>
                      <a:pt x="104" y="278"/>
                      <a:pt x="104" y="270"/>
                    </a:cubicBezTo>
                    <a:cubicBezTo>
                      <a:pt x="104" y="261"/>
                      <a:pt x="111" y="254"/>
                      <a:pt x="120" y="254"/>
                    </a:cubicBezTo>
                    <a:cubicBezTo>
                      <a:pt x="940" y="254"/>
                      <a:pt x="940" y="254"/>
                      <a:pt x="940" y="254"/>
                    </a:cubicBezTo>
                    <a:cubicBezTo>
                      <a:pt x="949" y="254"/>
                      <a:pt x="956" y="261"/>
                      <a:pt x="956" y="270"/>
                    </a:cubicBezTo>
                    <a:cubicBezTo>
                      <a:pt x="956" y="278"/>
                      <a:pt x="949" y="286"/>
                      <a:pt x="940" y="286"/>
                    </a:cubicBezTo>
                    <a:close/>
                    <a:moveTo>
                      <a:pt x="940" y="207"/>
                    </a:moveTo>
                    <a:cubicBezTo>
                      <a:pt x="120" y="207"/>
                      <a:pt x="120" y="207"/>
                      <a:pt x="120" y="207"/>
                    </a:cubicBezTo>
                    <a:cubicBezTo>
                      <a:pt x="111" y="207"/>
                      <a:pt x="104" y="200"/>
                      <a:pt x="104" y="191"/>
                    </a:cubicBezTo>
                    <a:cubicBezTo>
                      <a:pt x="104" y="182"/>
                      <a:pt x="111" y="175"/>
                      <a:pt x="120" y="175"/>
                    </a:cubicBezTo>
                    <a:cubicBezTo>
                      <a:pt x="940" y="175"/>
                      <a:pt x="940" y="175"/>
                      <a:pt x="940" y="175"/>
                    </a:cubicBezTo>
                    <a:cubicBezTo>
                      <a:pt x="949" y="175"/>
                      <a:pt x="956" y="182"/>
                      <a:pt x="956" y="191"/>
                    </a:cubicBezTo>
                    <a:cubicBezTo>
                      <a:pt x="956" y="200"/>
                      <a:pt x="949" y="207"/>
                      <a:pt x="940" y="207"/>
                    </a:cubicBezTo>
                    <a:close/>
                    <a:moveTo>
                      <a:pt x="940" y="128"/>
                    </a:moveTo>
                    <a:cubicBezTo>
                      <a:pt x="120" y="128"/>
                      <a:pt x="120" y="128"/>
                      <a:pt x="120" y="128"/>
                    </a:cubicBezTo>
                    <a:cubicBezTo>
                      <a:pt x="111" y="128"/>
                      <a:pt x="104" y="121"/>
                      <a:pt x="104" y="112"/>
                    </a:cubicBezTo>
                    <a:cubicBezTo>
                      <a:pt x="104" y="103"/>
                      <a:pt x="111" y="96"/>
                      <a:pt x="120" y="96"/>
                    </a:cubicBezTo>
                    <a:cubicBezTo>
                      <a:pt x="940" y="96"/>
                      <a:pt x="940" y="96"/>
                      <a:pt x="940" y="96"/>
                    </a:cubicBezTo>
                    <a:cubicBezTo>
                      <a:pt x="949" y="96"/>
                      <a:pt x="956" y="103"/>
                      <a:pt x="956" y="112"/>
                    </a:cubicBezTo>
                    <a:cubicBezTo>
                      <a:pt x="956" y="121"/>
                      <a:pt x="949" y="128"/>
                      <a:pt x="940" y="1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0" cap="none" normalizeH="0" baseline="0" noProof="0">
                  <a:ln>
                    <a:noFill/>
                  </a:ln>
                  <a:solidFill>
                    <a:sysClr val="windowText" lastClr="000000"/>
                  </a:solidFill>
                  <a:effectLst/>
                  <a:uLnTx/>
                  <a:uFillTx/>
                  <a:latin typeface="Segoe UI"/>
                  <a:ea typeface="+mn-ea"/>
                  <a:cs typeface="+mn-cs"/>
                </a:endParaRPr>
              </a:p>
            </p:txBody>
          </p:sp>
          <p:sp>
            <p:nvSpPr>
              <p:cNvPr id="22" name="Freeform 137"/>
              <p:cNvSpPr>
                <a:spLocks noEditPoints="1"/>
              </p:cNvSpPr>
              <p:nvPr/>
            </p:nvSpPr>
            <p:spPr bwMode="auto">
              <a:xfrm>
                <a:off x="6631" y="3544"/>
                <a:ext cx="923" cy="1554"/>
              </a:xfrm>
              <a:custGeom>
                <a:avLst/>
                <a:gdLst>
                  <a:gd name="T0" fmla="*/ 388 w 391"/>
                  <a:gd name="T1" fmla="*/ 627 h 659"/>
                  <a:gd name="T2" fmla="*/ 272 w 391"/>
                  <a:gd name="T3" fmla="*/ 275 h 659"/>
                  <a:gd name="T4" fmla="*/ 340 w 391"/>
                  <a:gd name="T5" fmla="*/ 149 h 659"/>
                  <a:gd name="T6" fmla="*/ 190 w 391"/>
                  <a:gd name="T7" fmla="*/ 0 h 659"/>
                  <a:gd name="T8" fmla="*/ 41 w 391"/>
                  <a:gd name="T9" fmla="*/ 149 h 659"/>
                  <a:gd name="T10" fmla="*/ 121 w 391"/>
                  <a:gd name="T11" fmla="*/ 282 h 659"/>
                  <a:gd name="T12" fmla="*/ 3 w 391"/>
                  <a:gd name="T13" fmla="*/ 638 h 659"/>
                  <a:gd name="T14" fmla="*/ 10 w 391"/>
                  <a:gd name="T15" fmla="*/ 656 h 659"/>
                  <a:gd name="T16" fmla="*/ 18 w 391"/>
                  <a:gd name="T17" fmla="*/ 659 h 659"/>
                  <a:gd name="T18" fmla="*/ 29 w 391"/>
                  <a:gd name="T19" fmla="*/ 654 h 659"/>
                  <a:gd name="T20" fmla="*/ 134 w 391"/>
                  <a:gd name="T21" fmla="*/ 550 h 659"/>
                  <a:gd name="T22" fmla="*/ 190 w 391"/>
                  <a:gd name="T23" fmla="*/ 649 h 659"/>
                  <a:gd name="T24" fmla="*/ 205 w 391"/>
                  <a:gd name="T25" fmla="*/ 657 h 659"/>
                  <a:gd name="T26" fmla="*/ 219 w 391"/>
                  <a:gd name="T27" fmla="*/ 647 h 659"/>
                  <a:gd name="T28" fmla="*/ 259 w 391"/>
                  <a:gd name="T29" fmla="*/ 543 h 659"/>
                  <a:gd name="T30" fmla="*/ 362 w 391"/>
                  <a:gd name="T31" fmla="*/ 644 h 659"/>
                  <a:gd name="T32" fmla="*/ 382 w 391"/>
                  <a:gd name="T33" fmla="*/ 646 h 659"/>
                  <a:gd name="T34" fmla="*/ 388 w 391"/>
                  <a:gd name="T35" fmla="*/ 627 h 659"/>
                  <a:gd name="T36" fmla="*/ 73 w 391"/>
                  <a:gd name="T37" fmla="*/ 149 h 659"/>
                  <a:gd name="T38" fmla="*/ 190 w 391"/>
                  <a:gd name="T39" fmla="*/ 32 h 659"/>
                  <a:gd name="T40" fmla="*/ 308 w 391"/>
                  <a:gd name="T41" fmla="*/ 149 h 659"/>
                  <a:gd name="T42" fmla="*/ 190 w 391"/>
                  <a:gd name="T43" fmla="*/ 267 h 659"/>
                  <a:gd name="T44" fmla="*/ 73 w 391"/>
                  <a:gd name="T45" fmla="*/ 149 h 659"/>
                  <a:gd name="T46" fmla="*/ 264 w 391"/>
                  <a:gd name="T47" fmla="*/ 503 h 659"/>
                  <a:gd name="T48" fmla="*/ 249 w 391"/>
                  <a:gd name="T49" fmla="*/ 498 h 659"/>
                  <a:gd name="T50" fmla="*/ 238 w 391"/>
                  <a:gd name="T51" fmla="*/ 508 h 659"/>
                  <a:gd name="T52" fmla="*/ 201 w 391"/>
                  <a:gd name="T53" fmla="*/ 604 h 659"/>
                  <a:gd name="T54" fmla="*/ 151 w 391"/>
                  <a:gd name="T55" fmla="*/ 516 h 659"/>
                  <a:gd name="T56" fmla="*/ 139 w 391"/>
                  <a:gd name="T57" fmla="*/ 508 h 659"/>
                  <a:gd name="T58" fmla="*/ 126 w 391"/>
                  <a:gd name="T59" fmla="*/ 513 h 659"/>
                  <a:gd name="T60" fmla="*/ 54 w 391"/>
                  <a:gd name="T61" fmla="*/ 584 h 659"/>
                  <a:gd name="T62" fmla="*/ 151 w 391"/>
                  <a:gd name="T63" fmla="*/ 294 h 659"/>
                  <a:gd name="T64" fmla="*/ 190 w 391"/>
                  <a:gd name="T65" fmla="*/ 299 h 659"/>
                  <a:gd name="T66" fmla="*/ 243 w 391"/>
                  <a:gd name="T67" fmla="*/ 290 h 659"/>
                  <a:gd name="T68" fmla="*/ 337 w 391"/>
                  <a:gd name="T69" fmla="*/ 574 h 659"/>
                  <a:gd name="T70" fmla="*/ 264 w 391"/>
                  <a:gd name="T71" fmla="*/ 503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1" h="659">
                    <a:moveTo>
                      <a:pt x="388" y="627"/>
                    </a:moveTo>
                    <a:cubicBezTo>
                      <a:pt x="272" y="275"/>
                      <a:pt x="272" y="275"/>
                      <a:pt x="272" y="275"/>
                    </a:cubicBezTo>
                    <a:cubicBezTo>
                      <a:pt x="313" y="249"/>
                      <a:pt x="340" y="202"/>
                      <a:pt x="340" y="149"/>
                    </a:cubicBezTo>
                    <a:cubicBezTo>
                      <a:pt x="340" y="67"/>
                      <a:pt x="273" y="0"/>
                      <a:pt x="190" y="0"/>
                    </a:cubicBezTo>
                    <a:cubicBezTo>
                      <a:pt x="108" y="0"/>
                      <a:pt x="41" y="67"/>
                      <a:pt x="41" y="149"/>
                    </a:cubicBezTo>
                    <a:cubicBezTo>
                      <a:pt x="41" y="207"/>
                      <a:pt x="73" y="257"/>
                      <a:pt x="121" y="282"/>
                    </a:cubicBezTo>
                    <a:cubicBezTo>
                      <a:pt x="3" y="638"/>
                      <a:pt x="3" y="638"/>
                      <a:pt x="3" y="638"/>
                    </a:cubicBezTo>
                    <a:cubicBezTo>
                      <a:pt x="0" y="645"/>
                      <a:pt x="3" y="652"/>
                      <a:pt x="10" y="656"/>
                    </a:cubicBezTo>
                    <a:cubicBezTo>
                      <a:pt x="12" y="658"/>
                      <a:pt x="15" y="659"/>
                      <a:pt x="18" y="659"/>
                    </a:cubicBezTo>
                    <a:cubicBezTo>
                      <a:pt x="22" y="659"/>
                      <a:pt x="26" y="657"/>
                      <a:pt x="29" y="654"/>
                    </a:cubicBezTo>
                    <a:cubicBezTo>
                      <a:pt x="134" y="550"/>
                      <a:pt x="134" y="550"/>
                      <a:pt x="134" y="550"/>
                    </a:cubicBezTo>
                    <a:cubicBezTo>
                      <a:pt x="190" y="649"/>
                      <a:pt x="190" y="649"/>
                      <a:pt x="190" y="649"/>
                    </a:cubicBezTo>
                    <a:cubicBezTo>
                      <a:pt x="193" y="655"/>
                      <a:pt x="199" y="658"/>
                      <a:pt x="205" y="657"/>
                    </a:cubicBezTo>
                    <a:cubicBezTo>
                      <a:pt x="211" y="657"/>
                      <a:pt x="216" y="653"/>
                      <a:pt x="219" y="647"/>
                    </a:cubicBezTo>
                    <a:cubicBezTo>
                      <a:pt x="259" y="543"/>
                      <a:pt x="259" y="543"/>
                      <a:pt x="259" y="543"/>
                    </a:cubicBezTo>
                    <a:cubicBezTo>
                      <a:pt x="362" y="644"/>
                      <a:pt x="362" y="644"/>
                      <a:pt x="362" y="644"/>
                    </a:cubicBezTo>
                    <a:cubicBezTo>
                      <a:pt x="367" y="649"/>
                      <a:pt x="375" y="650"/>
                      <a:pt x="382" y="646"/>
                    </a:cubicBezTo>
                    <a:cubicBezTo>
                      <a:pt x="388" y="642"/>
                      <a:pt x="391" y="634"/>
                      <a:pt x="388" y="627"/>
                    </a:cubicBezTo>
                    <a:close/>
                    <a:moveTo>
                      <a:pt x="73" y="149"/>
                    </a:moveTo>
                    <a:cubicBezTo>
                      <a:pt x="73" y="84"/>
                      <a:pt x="126" y="32"/>
                      <a:pt x="190" y="32"/>
                    </a:cubicBezTo>
                    <a:cubicBezTo>
                      <a:pt x="255" y="32"/>
                      <a:pt x="308" y="84"/>
                      <a:pt x="308" y="149"/>
                    </a:cubicBezTo>
                    <a:cubicBezTo>
                      <a:pt x="308" y="214"/>
                      <a:pt x="255" y="267"/>
                      <a:pt x="190" y="267"/>
                    </a:cubicBezTo>
                    <a:cubicBezTo>
                      <a:pt x="126" y="267"/>
                      <a:pt x="73" y="214"/>
                      <a:pt x="73" y="149"/>
                    </a:cubicBezTo>
                    <a:close/>
                    <a:moveTo>
                      <a:pt x="264" y="503"/>
                    </a:moveTo>
                    <a:cubicBezTo>
                      <a:pt x="260" y="499"/>
                      <a:pt x="255" y="497"/>
                      <a:pt x="249" y="498"/>
                    </a:cubicBezTo>
                    <a:cubicBezTo>
                      <a:pt x="244" y="500"/>
                      <a:pt x="240" y="503"/>
                      <a:pt x="238" y="508"/>
                    </a:cubicBezTo>
                    <a:cubicBezTo>
                      <a:pt x="201" y="604"/>
                      <a:pt x="201" y="604"/>
                      <a:pt x="201" y="604"/>
                    </a:cubicBezTo>
                    <a:cubicBezTo>
                      <a:pt x="151" y="516"/>
                      <a:pt x="151" y="516"/>
                      <a:pt x="151" y="516"/>
                    </a:cubicBezTo>
                    <a:cubicBezTo>
                      <a:pt x="149" y="512"/>
                      <a:pt x="144" y="509"/>
                      <a:pt x="139" y="508"/>
                    </a:cubicBezTo>
                    <a:cubicBezTo>
                      <a:pt x="135" y="507"/>
                      <a:pt x="130" y="509"/>
                      <a:pt x="126" y="513"/>
                    </a:cubicBezTo>
                    <a:cubicBezTo>
                      <a:pt x="54" y="584"/>
                      <a:pt x="54" y="584"/>
                      <a:pt x="54" y="584"/>
                    </a:cubicBezTo>
                    <a:cubicBezTo>
                      <a:pt x="151" y="294"/>
                      <a:pt x="151" y="294"/>
                      <a:pt x="151" y="294"/>
                    </a:cubicBezTo>
                    <a:cubicBezTo>
                      <a:pt x="163" y="297"/>
                      <a:pt x="177" y="299"/>
                      <a:pt x="190" y="299"/>
                    </a:cubicBezTo>
                    <a:cubicBezTo>
                      <a:pt x="209" y="299"/>
                      <a:pt x="226" y="296"/>
                      <a:pt x="243" y="290"/>
                    </a:cubicBezTo>
                    <a:cubicBezTo>
                      <a:pt x="337" y="574"/>
                      <a:pt x="337" y="574"/>
                      <a:pt x="337" y="574"/>
                    </a:cubicBezTo>
                    <a:lnTo>
                      <a:pt x="264" y="5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0" cap="none" normalizeH="0" baseline="0" noProof="0">
                  <a:ln>
                    <a:noFill/>
                  </a:ln>
                  <a:solidFill>
                    <a:sysClr val="windowText" lastClr="000000"/>
                  </a:solidFill>
                  <a:effectLst/>
                  <a:uLnTx/>
                  <a:uFillTx/>
                  <a:latin typeface="Segoe UI"/>
                  <a:ea typeface="+mn-ea"/>
                  <a:cs typeface="+mn-cs"/>
                </a:endParaRPr>
              </a:p>
            </p:txBody>
          </p:sp>
          <p:sp>
            <p:nvSpPr>
              <p:cNvPr id="23" name="Freeform 138"/>
              <p:cNvSpPr>
                <a:spLocks noEditPoints="1"/>
              </p:cNvSpPr>
              <p:nvPr/>
            </p:nvSpPr>
            <p:spPr bwMode="auto">
              <a:xfrm>
                <a:off x="6886" y="3702"/>
                <a:ext cx="390" cy="386"/>
              </a:xfrm>
              <a:custGeom>
                <a:avLst/>
                <a:gdLst>
                  <a:gd name="T0" fmla="*/ 165 w 165"/>
                  <a:gd name="T1" fmla="*/ 82 h 164"/>
                  <a:gd name="T2" fmla="*/ 82 w 165"/>
                  <a:gd name="T3" fmla="*/ 0 h 164"/>
                  <a:gd name="T4" fmla="*/ 0 w 165"/>
                  <a:gd name="T5" fmla="*/ 82 h 164"/>
                  <a:gd name="T6" fmla="*/ 82 w 165"/>
                  <a:gd name="T7" fmla="*/ 164 h 164"/>
                  <a:gd name="T8" fmla="*/ 165 w 165"/>
                  <a:gd name="T9" fmla="*/ 82 h 164"/>
                  <a:gd name="T10" fmla="*/ 33 w 165"/>
                  <a:gd name="T11" fmla="*/ 82 h 164"/>
                  <a:gd name="T12" fmla="*/ 82 w 165"/>
                  <a:gd name="T13" fmla="*/ 32 h 164"/>
                  <a:gd name="T14" fmla="*/ 132 w 165"/>
                  <a:gd name="T15" fmla="*/ 82 h 164"/>
                  <a:gd name="T16" fmla="*/ 82 w 165"/>
                  <a:gd name="T17" fmla="*/ 132 h 164"/>
                  <a:gd name="T18" fmla="*/ 33 w 165"/>
                  <a:gd name="T19" fmla="*/ 82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5" h="164">
                    <a:moveTo>
                      <a:pt x="165" y="82"/>
                    </a:moveTo>
                    <a:cubicBezTo>
                      <a:pt x="165" y="37"/>
                      <a:pt x="128" y="0"/>
                      <a:pt x="82" y="0"/>
                    </a:cubicBezTo>
                    <a:cubicBezTo>
                      <a:pt x="37" y="0"/>
                      <a:pt x="0" y="37"/>
                      <a:pt x="0" y="82"/>
                    </a:cubicBezTo>
                    <a:cubicBezTo>
                      <a:pt x="0" y="128"/>
                      <a:pt x="37" y="164"/>
                      <a:pt x="82" y="164"/>
                    </a:cubicBezTo>
                    <a:cubicBezTo>
                      <a:pt x="128" y="164"/>
                      <a:pt x="165" y="128"/>
                      <a:pt x="165" y="82"/>
                    </a:cubicBezTo>
                    <a:close/>
                    <a:moveTo>
                      <a:pt x="33" y="82"/>
                    </a:moveTo>
                    <a:cubicBezTo>
                      <a:pt x="33" y="55"/>
                      <a:pt x="55" y="32"/>
                      <a:pt x="82" y="32"/>
                    </a:cubicBezTo>
                    <a:cubicBezTo>
                      <a:pt x="110" y="32"/>
                      <a:pt x="132" y="55"/>
                      <a:pt x="132" y="82"/>
                    </a:cubicBezTo>
                    <a:cubicBezTo>
                      <a:pt x="132" y="110"/>
                      <a:pt x="110" y="132"/>
                      <a:pt x="82" y="132"/>
                    </a:cubicBezTo>
                    <a:cubicBezTo>
                      <a:pt x="55" y="132"/>
                      <a:pt x="33" y="110"/>
                      <a:pt x="33"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0" cap="none" normalizeH="0" baseline="0" noProof="0">
                  <a:ln>
                    <a:noFill/>
                  </a:ln>
                  <a:solidFill>
                    <a:sysClr val="windowText" lastClr="000000"/>
                  </a:solidFill>
                  <a:effectLst/>
                  <a:uLnTx/>
                  <a:uFillTx/>
                  <a:latin typeface="Segoe UI"/>
                  <a:ea typeface="+mn-ea"/>
                  <a:cs typeface="+mn-cs"/>
                </a:endParaRPr>
              </a:p>
            </p:txBody>
          </p:sp>
        </p:grpSp>
      </p:grpSp>
      <p:sp>
        <p:nvSpPr>
          <p:cNvPr id="7" name="Slide Number Placeholder 6"/>
          <p:cNvSpPr>
            <a:spLocks noGrp="1"/>
          </p:cNvSpPr>
          <p:nvPr>
            <p:ph type="sldNum" sz="quarter" idx="4"/>
          </p:nvPr>
        </p:nvSpPr>
        <p:spPr/>
        <p:txBody>
          <a:bodyPr/>
          <a:lstStyle/>
          <a:p>
            <a:pPr defTabSz="914363"/>
            <a:fld id="{727B4C2D-45E2-4621-8491-2995EB46A674}" type="slidenum">
              <a:rPr lang="en-US" smtClean="0"/>
              <a:pPr defTabSz="914363"/>
              <a:t>3</a:t>
            </a:fld>
            <a:endParaRPr lang="en-US"/>
          </a:p>
        </p:txBody>
      </p:sp>
      <p:sp>
        <p:nvSpPr>
          <p:cNvPr id="24" name="Rectangle 23"/>
          <p:cNvSpPr/>
          <p:nvPr/>
        </p:nvSpPr>
        <p:spPr>
          <a:xfrm>
            <a:off x="0" y="1257300"/>
            <a:ext cx="435429" cy="4954814"/>
          </a:xfrm>
          <a:prstGeom prst="rect">
            <a:avLst/>
          </a:prstGeom>
          <a:solidFill>
            <a:schemeClr val="bg1"/>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6" name="Rectangle 25"/>
          <p:cNvSpPr/>
          <p:nvPr/>
        </p:nvSpPr>
        <p:spPr>
          <a:xfrm>
            <a:off x="11756571" y="1257300"/>
            <a:ext cx="435429" cy="4954814"/>
          </a:xfrm>
          <a:prstGeom prst="rect">
            <a:avLst/>
          </a:prstGeom>
          <a:solidFill>
            <a:schemeClr val="bg1"/>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Tree>
    <p:extLst>
      <p:ext uri="{BB962C8B-B14F-4D97-AF65-F5344CB8AC3E}">
        <p14:creationId xmlns:p14="http://schemas.microsoft.com/office/powerpoint/2010/main" val="41097577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750" fill="hold"/>
                                        <p:tgtEl>
                                          <p:spTgt spid="8"/>
                                        </p:tgtEl>
                                        <p:attrNameLst>
                                          <p:attrName>ppt_x</p:attrName>
                                        </p:attrNameLst>
                                      </p:cBhvr>
                                      <p:tavLst>
                                        <p:tav tm="0">
                                          <p:val>
                                            <p:strVal val="0-#ppt_w/2"/>
                                          </p:val>
                                        </p:tav>
                                        <p:tav tm="100000">
                                          <p:val>
                                            <p:strVal val="#ppt_x"/>
                                          </p:val>
                                        </p:tav>
                                      </p:tavLst>
                                    </p:anim>
                                    <p:anim calcmode="lin" valueType="num">
                                      <p:cBhvr additive="base">
                                        <p:cTn id="8" dur="750" fill="hold"/>
                                        <p:tgtEl>
                                          <p:spTgt spid="8"/>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750" fill="hold"/>
                                        <p:tgtEl>
                                          <p:spTgt spid="9"/>
                                        </p:tgtEl>
                                        <p:attrNameLst>
                                          <p:attrName>ppt_x</p:attrName>
                                        </p:attrNameLst>
                                      </p:cBhvr>
                                      <p:tavLst>
                                        <p:tav tm="0">
                                          <p:val>
                                            <p:strVal val="1+#ppt_w/2"/>
                                          </p:val>
                                        </p:tav>
                                        <p:tav tm="100000">
                                          <p:val>
                                            <p:strVal val="#ppt_x"/>
                                          </p:val>
                                        </p:tav>
                                      </p:tavLst>
                                    </p:anim>
                                    <p:anim calcmode="lin" valueType="num">
                                      <p:cBhvr additive="base">
                                        <p:cTn id="12" dur="75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923877"/>
          </a:xfrm>
        </p:spPr>
        <p:txBody>
          <a:bodyPr/>
          <a:lstStyle/>
          <a:p>
            <a:pPr marL="742950" indent="-742950">
              <a:buFont typeface="+mj-lt"/>
              <a:buAutoNum type="arabicPeriod"/>
            </a:pPr>
            <a:r>
              <a:rPr lang="en-US" dirty="0" smtClean="0"/>
              <a:t>Start DSVM on Azure DI Subscription</a:t>
            </a:r>
          </a:p>
          <a:p>
            <a:pPr marL="742950" lvl="1" indent="-742950">
              <a:buFont typeface="+mj-lt"/>
              <a:buAutoNum type="arabicPeriod"/>
            </a:pPr>
            <a:r>
              <a:rPr lang="en-US" dirty="0" smtClean="0"/>
              <a:t>Check to see if Integration Runtime is working (shortcut on desktop)</a:t>
            </a:r>
          </a:p>
          <a:p>
            <a:pPr marL="742950" lvl="1" indent="-742950">
              <a:buFont typeface="+mj-lt"/>
              <a:buAutoNum type="arabicPeriod"/>
            </a:pPr>
            <a:r>
              <a:rPr lang="en-US" dirty="0" smtClean="0"/>
              <a:t>Public IP:  </a:t>
            </a:r>
            <a:r>
              <a:rPr lang="en-US" dirty="0"/>
              <a:t>40.76.18.186</a:t>
            </a:r>
            <a:endParaRPr lang="en-US" dirty="0" smtClean="0"/>
          </a:p>
          <a:p>
            <a:pPr marL="742950" indent="-742950">
              <a:buFont typeface="+mj-lt"/>
              <a:buAutoNum type="arabicPeriod"/>
            </a:pPr>
            <a:r>
              <a:rPr lang="en-US" dirty="0" smtClean="0"/>
              <a:t>Using the </a:t>
            </a:r>
            <a:r>
              <a:rPr lang="en-US" dirty="0" smtClean="0">
                <a:hlinkClick r:id="rId2"/>
              </a:rPr>
              <a:t>Azure Portal</a:t>
            </a:r>
            <a:r>
              <a:rPr lang="en-US" dirty="0" smtClean="0"/>
              <a:t>, ensure </a:t>
            </a:r>
            <a:r>
              <a:rPr lang="en-US" dirty="0" smtClean="0">
                <a:hlinkClick r:id="rId3"/>
              </a:rPr>
              <a:t>czwADF1</a:t>
            </a:r>
            <a:r>
              <a:rPr lang="en-US" dirty="0" smtClean="0"/>
              <a:t> Pipeline is working</a:t>
            </a:r>
            <a:endParaRPr lang="en-US" dirty="0"/>
          </a:p>
        </p:txBody>
      </p:sp>
      <p:sp>
        <p:nvSpPr>
          <p:cNvPr id="2" name="Title 1"/>
          <p:cNvSpPr>
            <a:spLocks noGrp="1"/>
          </p:cNvSpPr>
          <p:nvPr>
            <p:ph type="title"/>
          </p:nvPr>
        </p:nvSpPr>
        <p:spPr/>
        <p:txBody>
          <a:bodyPr/>
          <a:lstStyle/>
          <a:p>
            <a:r>
              <a:rPr lang="en-US" dirty="0" smtClean="0"/>
              <a:t>Setup/Prep Requirements</a:t>
            </a:r>
            <a:endParaRPr lang="en-US" dirty="0"/>
          </a:p>
        </p:txBody>
      </p:sp>
      <p:sp>
        <p:nvSpPr>
          <p:cNvPr id="3" name="Footer Placeholder 2"/>
          <p:cNvSpPr>
            <a:spLocks noGrp="1"/>
          </p:cNvSpPr>
          <p:nvPr>
            <p:ph type="ftr" sz="quarter" idx="3"/>
          </p:nvPr>
        </p:nvSpPr>
        <p:spPr/>
        <p:txBody>
          <a:bodyPr/>
          <a:lstStyle/>
          <a:p>
            <a:r>
              <a:rPr lang="en-US" smtClean="0"/>
              <a:t>Confidential</a:t>
            </a:r>
            <a:endParaRPr lang="en-US"/>
          </a:p>
        </p:txBody>
      </p:sp>
      <p:sp>
        <p:nvSpPr>
          <p:cNvPr id="4" name="Slide Number Placeholder 3"/>
          <p:cNvSpPr>
            <a:spLocks noGrp="1"/>
          </p:cNvSpPr>
          <p:nvPr>
            <p:ph type="sldNum" sz="quarter" idx="4"/>
          </p:nvPr>
        </p:nvSpPr>
        <p:spPr/>
        <p:txBody>
          <a:bodyPr/>
          <a:lstStyle/>
          <a:p>
            <a:pPr defTabSz="914363"/>
            <a:fld id="{727B4C2D-45E2-4621-8491-2995EB46A674}" type="slidenum">
              <a:rPr lang="en-US" smtClean="0"/>
              <a:pPr defTabSz="914363"/>
              <a:t>30</a:t>
            </a:fld>
            <a:endParaRPr lang="en-US"/>
          </a:p>
        </p:txBody>
      </p:sp>
    </p:spTree>
    <p:extLst>
      <p:ext uri="{BB962C8B-B14F-4D97-AF65-F5344CB8AC3E}">
        <p14:creationId xmlns:p14="http://schemas.microsoft.com/office/powerpoint/2010/main" val="2429661615"/>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743199" y="163107"/>
            <a:ext cx="2856523" cy="1218795"/>
          </a:xfrm>
        </p:spPr>
        <p:txBody>
          <a:bodyPr/>
          <a:lstStyle/>
          <a:p>
            <a:r>
              <a:rPr lang="en-US" dirty="0" smtClean="0">
                <a:latin typeface="Segoe UI Light"/>
                <a:cs typeface="Segoe UI Light"/>
              </a:rPr>
              <a:t>DEMO</a:t>
            </a:r>
            <a:endParaRPr lang="en-US" sz="6600" dirty="0">
              <a:latin typeface="Segoe UI Light"/>
              <a:cs typeface="Segoe UI Light"/>
            </a:endParaRPr>
          </a:p>
        </p:txBody>
      </p:sp>
      <p:sp>
        <p:nvSpPr>
          <p:cNvPr id="5" name="TextBox 4"/>
          <p:cNvSpPr txBox="1"/>
          <p:nvPr/>
        </p:nvSpPr>
        <p:spPr>
          <a:xfrm>
            <a:off x="378071" y="2444261"/>
            <a:ext cx="11306907" cy="3724096"/>
          </a:xfrm>
          <a:prstGeom prst="rect">
            <a:avLst/>
          </a:prstGeom>
          <a:noFill/>
        </p:spPr>
        <p:txBody>
          <a:bodyPr wrap="square" lIns="0" tIns="0" rIns="0" bIns="0" rtlCol="0">
            <a:spAutoFit/>
          </a:bodyPr>
          <a:lstStyle/>
          <a:p>
            <a:r>
              <a:rPr lang="en-US" sz="1600" spc="-70" dirty="0">
                <a:gradFill>
                  <a:gsLst>
                    <a:gs pos="2917">
                      <a:schemeClr val="bg2"/>
                    </a:gs>
                    <a:gs pos="95000">
                      <a:schemeClr val="bg2"/>
                    </a:gs>
                  </a:gsLst>
                  <a:lin ang="5400000" scaled="0"/>
                </a:gradFill>
              </a:rPr>
              <a:t>Summary</a:t>
            </a:r>
          </a:p>
          <a:p>
            <a:endParaRPr lang="en-US" sz="1000" spc="-70" dirty="0">
              <a:gradFill>
                <a:gsLst>
                  <a:gs pos="2917">
                    <a:schemeClr val="bg2"/>
                  </a:gs>
                  <a:gs pos="95000">
                    <a:schemeClr val="bg2"/>
                  </a:gs>
                </a:gsLst>
                <a:lin ang="5400000" scaled="0"/>
              </a:gradFill>
            </a:endParaRPr>
          </a:p>
          <a:p>
            <a:r>
              <a:rPr lang="en-US" sz="1600" spc="-70" dirty="0">
                <a:gradFill>
                  <a:gsLst>
                    <a:gs pos="2917">
                      <a:schemeClr val="bg2"/>
                    </a:gs>
                    <a:gs pos="95000">
                      <a:schemeClr val="bg2"/>
                    </a:gs>
                  </a:gsLst>
                  <a:lin ang="5400000" scaled="0"/>
                </a:gradFill>
              </a:rPr>
              <a:t>This is a buyer propensity model that predicts which customers are most likely to buy bikes. This is a good example of a customer targeting model that is widely used in Marketing.  It uses 2 binary classification algorithms namely Logistic Regression and Boosted Decision Trees. </a:t>
            </a:r>
          </a:p>
          <a:p>
            <a:endParaRPr lang="en-US" sz="1000" spc="-70" dirty="0">
              <a:gradFill>
                <a:gsLst>
                  <a:gs pos="2917">
                    <a:schemeClr val="bg2"/>
                  </a:gs>
                  <a:gs pos="95000">
                    <a:schemeClr val="bg2"/>
                  </a:gs>
                </a:gsLst>
                <a:lin ang="5400000" scaled="0"/>
              </a:gradFill>
            </a:endParaRPr>
          </a:p>
          <a:p>
            <a:r>
              <a:rPr lang="en-US" sz="1600" spc="-70" dirty="0">
                <a:gradFill>
                  <a:gsLst>
                    <a:gs pos="2917">
                      <a:schemeClr val="bg2"/>
                    </a:gs>
                    <a:gs pos="95000">
                      <a:schemeClr val="bg2"/>
                    </a:gs>
                  </a:gsLst>
                  <a:lin ang="5400000" scaled="0"/>
                </a:gradFill>
              </a:rPr>
              <a:t>**Inputs:**</a:t>
            </a:r>
          </a:p>
          <a:p>
            <a:endParaRPr lang="en-US" sz="1000" spc="-70" dirty="0">
              <a:gradFill>
                <a:gsLst>
                  <a:gs pos="2917">
                    <a:schemeClr val="bg2"/>
                  </a:gs>
                  <a:gs pos="95000">
                    <a:schemeClr val="bg2"/>
                  </a:gs>
                </a:gsLst>
                <a:lin ang="5400000" scaled="0"/>
              </a:gradFill>
            </a:endParaRPr>
          </a:p>
          <a:p>
            <a:r>
              <a:rPr lang="en-US" sz="1600" spc="-70" dirty="0">
                <a:gradFill>
                  <a:gsLst>
                    <a:gs pos="2917">
                      <a:schemeClr val="bg2"/>
                    </a:gs>
                    <a:gs pos="95000">
                      <a:schemeClr val="bg2"/>
                    </a:gs>
                  </a:gsLst>
                  <a:lin ang="5400000" scaled="0"/>
                </a:gradFill>
              </a:rPr>
              <a:t>The input data is the </a:t>
            </a:r>
            <a:r>
              <a:rPr lang="en-US" sz="1600" spc="-70" dirty="0" err="1">
                <a:gradFill>
                  <a:gsLst>
                    <a:gs pos="2917">
                      <a:schemeClr val="bg2"/>
                    </a:gs>
                    <a:gs pos="95000">
                      <a:schemeClr val="bg2"/>
                    </a:gs>
                  </a:gsLst>
                  <a:lin ang="5400000" scaled="0"/>
                </a:gradFill>
              </a:rPr>
              <a:t>BikeBuyer</a:t>
            </a:r>
            <a:r>
              <a:rPr lang="en-US" sz="1600" spc="-70" dirty="0">
                <a:gradFill>
                  <a:gsLst>
                    <a:gs pos="2917">
                      <a:schemeClr val="bg2"/>
                    </a:gs>
                    <a:gs pos="95000">
                      <a:schemeClr val="bg2"/>
                    </a:gs>
                  </a:gsLst>
                  <a:lin ang="5400000" scaled="0"/>
                </a:gradFill>
              </a:rPr>
              <a:t> dataset that has historical sales data on a set of fictitious customers. This data includes demographic variables such as marital status, gender, yearly income, number of children, occupation, age, etc. Other input variables include home ownership status, number of cars, and commute distance.</a:t>
            </a:r>
          </a:p>
          <a:p>
            <a:endParaRPr lang="en-US" sz="1000" spc="-70" dirty="0">
              <a:gradFill>
                <a:gsLst>
                  <a:gs pos="2917">
                    <a:schemeClr val="bg2"/>
                  </a:gs>
                  <a:gs pos="95000">
                    <a:schemeClr val="bg2"/>
                  </a:gs>
                </a:gsLst>
                <a:lin ang="5400000" scaled="0"/>
              </a:gradFill>
            </a:endParaRPr>
          </a:p>
          <a:p>
            <a:r>
              <a:rPr lang="en-US" sz="1600" spc="-70" dirty="0">
                <a:gradFill>
                  <a:gsLst>
                    <a:gs pos="2917">
                      <a:schemeClr val="bg2"/>
                    </a:gs>
                    <a:gs pos="95000">
                      <a:schemeClr val="bg2"/>
                    </a:gs>
                  </a:gsLst>
                  <a:lin ang="5400000" scaled="0"/>
                </a:gradFill>
              </a:rPr>
              <a:t>**Outputs:**</a:t>
            </a:r>
          </a:p>
          <a:p>
            <a:endParaRPr lang="en-US" sz="1050" spc="-70" dirty="0">
              <a:gradFill>
                <a:gsLst>
                  <a:gs pos="2917">
                    <a:schemeClr val="bg2"/>
                  </a:gs>
                  <a:gs pos="95000">
                    <a:schemeClr val="bg2"/>
                  </a:gs>
                </a:gsLst>
                <a:lin ang="5400000" scaled="0"/>
              </a:gradFill>
            </a:endParaRPr>
          </a:p>
          <a:p>
            <a:r>
              <a:rPr lang="en-US" sz="1600" spc="-70" dirty="0">
                <a:gradFill>
                  <a:gsLst>
                    <a:gs pos="2917">
                      <a:schemeClr val="bg2"/>
                    </a:gs>
                    <a:gs pos="95000">
                      <a:schemeClr val="bg2"/>
                    </a:gs>
                  </a:gsLst>
                  <a:lin ang="5400000" scaled="0"/>
                </a:gradFill>
              </a:rPr>
              <a:t>The training data has one output - a single binary variable showing whether the customer bought a bike or not.  The output of the model is the probability of purchase.  So for a given customer the model shows the probability that the given customer will buy a bike.</a:t>
            </a:r>
          </a:p>
          <a:p>
            <a:endParaRPr lang="en-US" sz="2400" spc="-70" dirty="0" smtClean="0">
              <a:gradFill>
                <a:gsLst>
                  <a:gs pos="2917">
                    <a:schemeClr val="bg2"/>
                  </a:gs>
                  <a:gs pos="95000">
                    <a:schemeClr val="bg2"/>
                  </a:gs>
                </a:gsLst>
                <a:lin ang="5400000" scaled="0"/>
              </a:gradFill>
            </a:endParaRPr>
          </a:p>
        </p:txBody>
      </p:sp>
    </p:spTree>
    <p:extLst>
      <p:ext uri="{BB962C8B-B14F-4D97-AF65-F5344CB8AC3E}">
        <p14:creationId xmlns:p14="http://schemas.microsoft.com/office/powerpoint/2010/main" val="1598943787"/>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19248" y="879239"/>
            <a:ext cx="11151917" cy="2769989"/>
          </a:xfrm>
        </p:spPr>
        <p:txBody>
          <a:bodyPr/>
          <a:lstStyle/>
          <a:p>
            <a:pPr marL="742950" indent="-742950">
              <a:buFont typeface="+mj-lt"/>
              <a:buAutoNum type="arabicPeriod"/>
            </a:pPr>
            <a:r>
              <a:rPr lang="en-US" sz="2800" dirty="0" smtClean="0"/>
              <a:t>Search for interesting data in data catalog</a:t>
            </a:r>
          </a:p>
          <a:p>
            <a:pPr marL="742950" lvl="1" indent="-742950">
              <a:buFont typeface="+mj-lt"/>
              <a:buAutoNum type="arabicPeriod"/>
            </a:pPr>
            <a:r>
              <a:rPr lang="en-US" sz="1400" dirty="0" smtClean="0"/>
              <a:t>Open </a:t>
            </a:r>
            <a:r>
              <a:rPr lang="en-US" sz="1400" dirty="0" smtClean="0">
                <a:hlinkClick r:id="rId2"/>
              </a:rPr>
              <a:t>Azure Data catalog </a:t>
            </a:r>
            <a:r>
              <a:rPr lang="en-US" sz="1400" dirty="0" smtClean="0"/>
              <a:t>app on laptop and search for </a:t>
            </a:r>
            <a:r>
              <a:rPr lang="en-US" sz="1400" i="1" dirty="0" smtClean="0"/>
              <a:t>bike</a:t>
            </a:r>
          </a:p>
          <a:p>
            <a:pPr marL="974725" lvl="2" indent="-742950">
              <a:buFont typeface="+mj-lt"/>
              <a:buAutoNum type="arabicPeriod"/>
            </a:pPr>
            <a:r>
              <a:rPr lang="en-US" sz="1400" i="1" dirty="0" smtClean="0"/>
              <a:t>Show the columns in the CSV</a:t>
            </a:r>
          </a:p>
          <a:p>
            <a:pPr marL="974725" lvl="2" indent="-742950">
              <a:buFont typeface="+mj-lt"/>
              <a:buAutoNum type="arabicPeriod"/>
            </a:pPr>
            <a:r>
              <a:rPr lang="en-US" sz="1400" i="1" dirty="0" smtClean="0"/>
              <a:t>Note that </a:t>
            </a:r>
            <a:r>
              <a:rPr lang="en-US" sz="1400" i="1" dirty="0" err="1" smtClean="0"/>
              <a:t>cweaver@valorem</a:t>
            </a:r>
            <a:r>
              <a:rPr lang="en-US" sz="1400" i="1" dirty="0" smtClean="0"/>
              <a:t> is the person to contact for access</a:t>
            </a:r>
          </a:p>
          <a:p>
            <a:pPr marL="742950" lvl="1" indent="-742950">
              <a:buFont typeface="+mj-lt"/>
              <a:buAutoNum type="arabicPeriod"/>
            </a:pPr>
            <a:r>
              <a:rPr lang="en-US" sz="1400" i="1" dirty="0" smtClean="0"/>
              <a:t>Go to Azure portal and open Blob storage</a:t>
            </a:r>
          </a:p>
          <a:p>
            <a:pPr marL="974725" lvl="2" indent="-742950">
              <a:buFont typeface="+mj-lt"/>
              <a:buAutoNum type="arabicPeriod"/>
            </a:pPr>
            <a:r>
              <a:rPr lang="en-US" sz="1400" i="1" dirty="0" smtClean="0"/>
              <a:t>Note that the data could be downloaded by the Download link or the URL</a:t>
            </a:r>
          </a:p>
          <a:p>
            <a:pPr marL="742950" lvl="1" indent="-742950">
              <a:buFont typeface="+mj-lt"/>
              <a:buAutoNum type="arabicPeriod"/>
            </a:pPr>
            <a:r>
              <a:rPr lang="en-US" sz="1400" i="1" dirty="0" smtClean="0"/>
              <a:t>Introduce Data Factory to show how the data gets into Blob (recall the data comes from the DSVM VM, not the laptop!)</a:t>
            </a:r>
          </a:p>
          <a:p>
            <a:pPr marL="974725" lvl="2" indent="-742950">
              <a:buFont typeface="+mj-lt"/>
              <a:buAutoNum type="arabicPeriod"/>
            </a:pPr>
            <a:r>
              <a:rPr lang="en-US" sz="1400" i="1" dirty="0" smtClean="0"/>
              <a:t>Recall the VM must be running (verify the Integration Runtime is enabled)</a:t>
            </a:r>
          </a:p>
          <a:p>
            <a:pPr marL="974725" lvl="2" indent="-742950">
              <a:buFont typeface="+mj-lt"/>
              <a:buAutoNum type="arabicPeriod"/>
            </a:pPr>
            <a:r>
              <a:rPr lang="en-US" sz="1400" i="1" dirty="0" smtClean="0"/>
              <a:t>Data is in the </a:t>
            </a:r>
            <a:r>
              <a:rPr lang="en-US" sz="1400" i="1" dirty="0" err="1" smtClean="0"/>
              <a:t>czwdemo</a:t>
            </a:r>
            <a:r>
              <a:rPr lang="en-US" sz="1400" i="1" dirty="0" smtClean="0"/>
              <a:t> container</a:t>
            </a:r>
          </a:p>
        </p:txBody>
      </p:sp>
      <p:sp>
        <p:nvSpPr>
          <p:cNvPr id="3" name="Title 2"/>
          <p:cNvSpPr>
            <a:spLocks noGrp="1"/>
          </p:cNvSpPr>
          <p:nvPr>
            <p:ph type="title"/>
          </p:nvPr>
        </p:nvSpPr>
        <p:spPr>
          <a:xfrm>
            <a:off x="508000" y="299804"/>
            <a:ext cx="11176000" cy="571147"/>
          </a:xfrm>
        </p:spPr>
        <p:txBody>
          <a:bodyPr/>
          <a:lstStyle/>
          <a:p>
            <a:r>
              <a:rPr lang="en-US" sz="3600" dirty="0" smtClean="0"/>
              <a:t>Demo – Detailed Steps</a:t>
            </a:r>
            <a:endParaRPr lang="en-US" sz="3600" dirty="0"/>
          </a:p>
        </p:txBody>
      </p:sp>
      <p:sp>
        <p:nvSpPr>
          <p:cNvPr id="4" name="Footer Placeholder 3"/>
          <p:cNvSpPr>
            <a:spLocks noGrp="1"/>
          </p:cNvSpPr>
          <p:nvPr>
            <p:ph type="ftr" sz="quarter" idx="3"/>
          </p:nvPr>
        </p:nvSpPr>
        <p:spPr/>
        <p:txBody>
          <a:bodyPr/>
          <a:lstStyle/>
          <a:p>
            <a:r>
              <a:rPr lang="en-US" dirty="0" smtClean="0"/>
              <a:t>Confidential</a:t>
            </a:r>
            <a:endParaRPr lang="en-US" dirty="0"/>
          </a:p>
        </p:txBody>
      </p:sp>
      <p:sp>
        <p:nvSpPr>
          <p:cNvPr id="5" name="Slide Number Placeholder 4"/>
          <p:cNvSpPr>
            <a:spLocks noGrp="1"/>
          </p:cNvSpPr>
          <p:nvPr>
            <p:ph type="sldNum" sz="quarter" idx="4"/>
          </p:nvPr>
        </p:nvSpPr>
        <p:spPr/>
        <p:txBody>
          <a:bodyPr/>
          <a:lstStyle/>
          <a:p>
            <a:pPr defTabSz="914363"/>
            <a:fld id="{727B4C2D-45E2-4621-8491-2995EB46A674}" type="slidenum">
              <a:rPr lang="en-US" smtClean="0"/>
              <a:pPr defTabSz="914363"/>
              <a:t>32</a:t>
            </a:fld>
            <a:endParaRPr lang="en-US"/>
          </a:p>
        </p:txBody>
      </p:sp>
      <p:sp>
        <p:nvSpPr>
          <p:cNvPr id="6" name="TextBox 5"/>
          <p:cNvSpPr txBox="1"/>
          <p:nvPr/>
        </p:nvSpPr>
        <p:spPr>
          <a:xfrm>
            <a:off x="519248" y="4158762"/>
            <a:ext cx="10304083" cy="369332"/>
          </a:xfrm>
          <a:prstGeom prst="rect">
            <a:avLst/>
          </a:prstGeom>
          <a:noFill/>
        </p:spPr>
        <p:txBody>
          <a:bodyPr wrap="square" lIns="0" tIns="0" rIns="0" bIns="0" rtlCol="0">
            <a:spAutoFit/>
          </a:bodyPr>
          <a:lstStyle/>
          <a:p>
            <a:r>
              <a:rPr lang="en-US" sz="2400" spc="-70" dirty="0" smtClean="0">
                <a:solidFill>
                  <a:srgbClr val="0077EE"/>
                </a:solidFill>
              </a:rPr>
              <a:t>DSVM should be running.  Make sure Integration Runtime is status </a:t>
            </a:r>
            <a:r>
              <a:rPr lang="en-US" sz="2400" spc="-70" dirty="0" smtClean="0">
                <a:solidFill>
                  <a:srgbClr val="00B050"/>
                </a:solidFill>
              </a:rPr>
              <a:t>green</a:t>
            </a:r>
          </a:p>
        </p:txBody>
      </p:sp>
    </p:spTree>
    <p:extLst>
      <p:ext uri="{BB962C8B-B14F-4D97-AF65-F5344CB8AC3E}">
        <p14:creationId xmlns:p14="http://schemas.microsoft.com/office/powerpoint/2010/main" val="1458820633"/>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19248" y="1447799"/>
            <a:ext cx="11151917" cy="5616922"/>
          </a:xfrm>
        </p:spPr>
        <p:txBody>
          <a:bodyPr/>
          <a:lstStyle/>
          <a:p>
            <a:pPr marL="742950" indent="-742950">
              <a:buFont typeface="+mj-lt"/>
              <a:buAutoNum type="arabicPeriod" startAt="2"/>
            </a:pPr>
            <a:r>
              <a:rPr lang="en-US" sz="2800" i="1" dirty="0"/>
              <a:t>Open </a:t>
            </a:r>
            <a:r>
              <a:rPr lang="en-US" sz="2800" i="1" dirty="0" err="1">
                <a:hlinkClick r:id="rId2"/>
              </a:rPr>
              <a:t>AzureML</a:t>
            </a:r>
            <a:r>
              <a:rPr lang="en-US" sz="2800" i="1" dirty="0">
                <a:hlinkClick r:id="rId2"/>
              </a:rPr>
              <a:t> Studio</a:t>
            </a:r>
            <a:endParaRPr lang="en-US" sz="2800" i="1" dirty="0"/>
          </a:p>
          <a:p>
            <a:pPr marL="742950" lvl="1" indent="-742950">
              <a:buFont typeface="+mj-lt"/>
              <a:buAutoNum type="arabicPeriod"/>
            </a:pPr>
            <a:r>
              <a:rPr lang="en-US" sz="1400" i="1" dirty="0"/>
              <a:t>Open Buyer Propensity Model-US</a:t>
            </a:r>
          </a:p>
          <a:p>
            <a:pPr marL="974725" lvl="2" indent="-742950">
              <a:buFont typeface="+mj-lt"/>
              <a:buAutoNum type="arabicPeriod"/>
            </a:pPr>
            <a:r>
              <a:rPr lang="en-US" sz="1400" i="1" dirty="0"/>
              <a:t>Note that the data is retrieved directly from the Azure Blob storage</a:t>
            </a:r>
          </a:p>
          <a:p>
            <a:pPr marL="974725" lvl="2" indent="-742950">
              <a:buFont typeface="+mj-lt"/>
              <a:buAutoNum type="arabicPeriod"/>
            </a:pPr>
            <a:r>
              <a:rPr lang="en-US" sz="1400" i="1" dirty="0"/>
              <a:t>Briefly review the </a:t>
            </a:r>
            <a:r>
              <a:rPr lang="en-US" sz="1400" i="1" dirty="0" err="1"/>
              <a:t>AzureML</a:t>
            </a:r>
            <a:r>
              <a:rPr lang="en-US" sz="1400" i="1" dirty="0"/>
              <a:t> Model – visualize the performance</a:t>
            </a:r>
          </a:p>
          <a:p>
            <a:pPr marL="974725" lvl="2" indent="-742950">
              <a:buFont typeface="+mj-lt"/>
              <a:buAutoNum type="arabicPeriod"/>
            </a:pPr>
            <a:r>
              <a:rPr lang="en-US" sz="1400" i="1" dirty="0"/>
              <a:t>Show Predictive Experiment tab</a:t>
            </a:r>
          </a:p>
          <a:p>
            <a:pPr marL="1200150" lvl="3" indent="-742950">
              <a:buFont typeface="+mj-lt"/>
              <a:buAutoNum type="arabicPeriod"/>
            </a:pPr>
            <a:r>
              <a:rPr lang="en-US" sz="1400" i="1" dirty="0"/>
              <a:t>Mention it is created automatically.  Only mod was the selection of output variables</a:t>
            </a:r>
          </a:p>
          <a:p>
            <a:pPr marL="974725" lvl="2" indent="-742950">
              <a:buFont typeface="+mj-lt"/>
              <a:buAutoNum type="arabicPeriod"/>
            </a:pPr>
            <a:r>
              <a:rPr lang="en-US" sz="1400" i="1" dirty="0"/>
              <a:t>Go to Web Services and select Buyer Propensity Model – US [predictive </a:t>
            </a:r>
            <a:r>
              <a:rPr lang="en-US" sz="1400" i="1" dirty="0" err="1"/>
              <a:t>exp</a:t>
            </a:r>
            <a:r>
              <a:rPr lang="en-US" sz="1400" i="1" dirty="0"/>
              <a:t>]</a:t>
            </a:r>
          </a:p>
          <a:p>
            <a:pPr marL="1200150" lvl="3" indent="-742950">
              <a:buFont typeface="+mj-lt"/>
              <a:buAutoNum type="arabicPeriod"/>
            </a:pPr>
            <a:r>
              <a:rPr lang="en-US" sz="1400" i="1" dirty="0"/>
              <a:t>Show the Test Button but do not execute (just to save time)</a:t>
            </a:r>
          </a:p>
          <a:p>
            <a:pPr marL="1200150" lvl="3" indent="-742950">
              <a:buFont typeface="+mj-lt"/>
              <a:buAutoNum type="arabicPeriod"/>
            </a:pPr>
            <a:r>
              <a:rPr lang="en-US" sz="1400" i="1" dirty="0"/>
              <a:t>Open the Excel 2013 or Later </a:t>
            </a:r>
            <a:r>
              <a:rPr lang="en-US" sz="1400" i="1" dirty="0" smtClean="0"/>
              <a:t>link (enable editing when prompted)</a:t>
            </a:r>
            <a:endParaRPr lang="en-US" sz="1400" i="1" dirty="0"/>
          </a:p>
          <a:p>
            <a:pPr marL="1436688" lvl="4" indent="-742950">
              <a:buFont typeface="+mj-lt"/>
              <a:buAutoNum type="arabicPeriod"/>
            </a:pPr>
            <a:r>
              <a:rPr lang="en-US" sz="1400" i="1" dirty="0"/>
              <a:t>Use Sample Data.  Select N1 as Output (ensure Include headers is selected</a:t>
            </a:r>
            <a:r>
              <a:rPr lang="en-US" sz="1400" i="1" dirty="0" smtClean="0"/>
              <a:t>)</a:t>
            </a:r>
          </a:p>
          <a:p>
            <a:pPr marL="1436688" lvl="4" indent="-742950">
              <a:buFont typeface="+mj-lt"/>
              <a:buAutoNum type="arabicPeriod"/>
            </a:pPr>
            <a:r>
              <a:rPr lang="en-US" sz="1400" i="1" dirty="0" smtClean="0"/>
              <a:t>Go to Azure Blob </a:t>
            </a:r>
            <a:r>
              <a:rPr lang="en-US" sz="1400" i="1" dirty="0" err="1" smtClean="0"/>
              <a:t>czwdemo</a:t>
            </a:r>
            <a:r>
              <a:rPr lang="en-US" sz="1400" i="1" dirty="0" smtClean="0"/>
              <a:t> and download BikeBuyerRandomTestData.csv.</a:t>
            </a:r>
          </a:p>
          <a:p>
            <a:pPr marL="1436688" lvl="4" indent="-742950">
              <a:buFont typeface="+mj-lt"/>
              <a:buAutoNum type="arabicPeriod"/>
            </a:pPr>
            <a:r>
              <a:rPr lang="en-US" sz="1400" i="1" dirty="0" smtClean="0"/>
              <a:t>Copy the random data into the Excel Algorithm file and run the prediction (note, Excel seems to hang – give it a minute – it’ll free up!)  Move to PBI</a:t>
            </a:r>
          </a:p>
          <a:p>
            <a:endParaRPr lang="en-US" sz="3400" i="1" dirty="0"/>
          </a:p>
          <a:p>
            <a:endParaRPr lang="en-US" dirty="0"/>
          </a:p>
        </p:txBody>
      </p:sp>
      <p:sp>
        <p:nvSpPr>
          <p:cNvPr id="3" name="Title 2"/>
          <p:cNvSpPr>
            <a:spLocks noGrp="1"/>
          </p:cNvSpPr>
          <p:nvPr>
            <p:ph type="title"/>
          </p:nvPr>
        </p:nvSpPr>
        <p:spPr/>
        <p:txBody>
          <a:bodyPr/>
          <a:lstStyle/>
          <a:p>
            <a:r>
              <a:rPr lang="en-US" sz="3600" dirty="0"/>
              <a:t>Demo – Detailed </a:t>
            </a:r>
            <a:r>
              <a:rPr lang="en-US" sz="3600" dirty="0" smtClean="0"/>
              <a:t>Steps, Cont’d</a:t>
            </a:r>
            <a:endParaRPr lang="en-US" sz="3600" dirty="0"/>
          </a:p>
        </p:txBody>
      </p:sp>
      <p:sp>
        <p:nvSpPr>
          <p:cNvPr id="4" name="Footer Placeholder 3"/>
          <p:cNvSpPr>
            <a:spLocks noGrp="1"/>
          </p:cNvSpPr>
          <p:nvPr>
            <p:ph type="ftr" sz="quarter" idx="3"/>
          </p:nvPr>
        </p:nvSpPr>
        <p:spPr/>
        <p:txBody>
          <a:bodyPr/>
          <a:lstStyle/>
          <a:p>
            <a:r>
              <a:rPr lang="en-US" smtClean="0"/>
              <a:t>Confidential</a:t>
            </a:r>
            <a:endParaRPr lang="en-US"/>
          </a:p>
        </p:txBody>
      </p:sp>
      <p:sp>
        <p:nvSpPr>
          <p:cNvPr id="5" name="Slide Number Placeholder 4"/>
          <p:cNvSpPr>
            <a:spLocks noGrp="1"/>
          </p:cNvSpPr>
          <p:nvPr>
            <p:ph type="sldNum" sz="quarter" idx="4"/>
          </p:nvPr>
        </p:nvSpPr>
        <p:spPr/>
        <p:txBody>
          <a:bodyPr/>
          <a:lstStyle/>
          <a:p>
            <a:pPr defTabSz="914363"/>
            <a:fld id="{727B4C2D-45E2-4621-8491-2995EB46A674}" type="slidenum">
              <a:rPr lang="en-US" smtClean="0"/>
              <a:pPr defTabSz="914363"/>
              <a:t>33</a:t>
            </a:fld>
            <a:endParaRPr lang="en-US"/>
          </a:p>
        </p:txBody>
      </p:sp>
    </p:spTree>
    <p:extLst>
      <p:ext uri="{BB962C8B-B14F-4D97-AF65-F5344CB8AC3E}">
        <p14:creationId xmlns:p14="http://schemas.microsoft.com/office/powerpoint/2010/main" val="759047273"/>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19248" y="1447799"/>
            <a:ext cx="11151917" cy="2385268"/>
          </a:xfrm>
        </p:spPr>
        <p:txBody>
          <a:bodyPr/>
          <a:lstStyle/>
          <a:p>
            <a:pPr marL="742950" indent="-742950">
              <a:buFont typeface="+mj-lt"/>
              <a:buAutoNum type="arabicPeriod" startAt="3"/>
            </a:pPr>
            <a:r>
              <a:rPr lang="en-US" dirty="0" smtClean="0"/>
              <a:t>Open </a:t>
            </a:r>
            <a:r>
              <a:rPr lang="en-US" dirty="0" err="1" smtClean="0"/>
              <a:t>BikeBuyer</a:t>
            </a:r>
            <a:r>
              <a:rPr lang="en-US" dirty="0" smtClean="0"/>
              <a:t> PBI File</a:t>
            </a:r>
          </a:p>
          <a:p>
            <a:pPr marL="742950" lvl="1" indent="-742950">
              <a:buFont typeface="+mj-lt"/>
              <a:buAutoNum type="arabicPeriod"/>
            </a:pPr>
            <a:r>
              <a:rPr lang="en-US" dirty="0" smtClean="0"/>
              <a:t>Highlight the data on the dashboard where the scored probabilities from the Excel file are illustrated</a:t>
            </a:r>
          </a:p>
          <a:p>
            <a:pPr marL="742950" lvl="1" indent="-742950">
              <a:buFont typeface="+mj-lt"/>
              <a:buAutoNum type="arabicPeriod"/>
            </a:pPr>
            <a:r>
              <a:rPr lang="en-US" dirty="0" smtClean="0"/>
              <a:t>Note the fields are the same that we saw throughout the demo</a:t>
            </a:r>
          </a:p>
          <a:p>
            <a:pPr marL="974725" lvl="2" indent="-742950">
              <a:buFont typeface="+mj-lt"/>
              <a:buAutoNum type="arabicPeriod"/>
            </a:pPr>
            <a:r>
              <a:rPr lang="en-US" dirty="0" smtClean="0"/>
              <a:t>Started at Data Catalog</a:t>
            </a:r>
            <a:r>
              <a:rPr lang="en-US" smtClean="0"/>
              <a:t>, through </a:t>
            </a:r>
            <a:r>
              <a:rPr lang="en-US" dirty="0" smtClean="0"/>
              <a:t>Data Factory, Azure Blob, </a:t>
            </a:r>
            <a:r>
              <a:rPr lang="en-US" dirty="0" err="1" smtClean="0"/>
              <a:t>AzureML</a:t>
            </a:r>
            <a:r>
              <a:rPr lang="en-US" dirty="0" smtClean="0"/>
              <a:t>, Excel and finally into Power BI</a:t>
            </a:r>
            <a:endParaRPr lang="en-US" dirty="0"/>
          </a:p>
        </p:txBody>
      </p:sp>
      <p:sp>
        <p:nvSpPr>
          <p:cNvPr id="3" name="Title 2"/>
          <p:cNvSpPr>
            <a:spLocks noGrp="1"/>
          </p:cNvSpPr>
          <p:nvPr>
            <p:ph type="title"/>
          </p:nvPr>
        </p:nvSpPr>
        <p:spPr/>
        <p:txBody>
          <a:bodyPr/>
          <a:lstStyle/>
          <a:p>
            <a:r>
              <a:rPr lang="en-US" sz="3600" dirty="0"/>
              <a:t>Demo – Detailed Steps, Cont’d</a:t>
            </a:r>
          </a:p>
        </p:txBody>
      </p:sp>
      <p:sp>
        <p:nvSpPr>
          <p:cNvPr id="4" name="Footer Placeholder 3"/>
          <p:cNvSpPr>
            <a:spLocks noGrp="1"/>
          </p:cNvSpPr>
          <p:nvPr>
            <p:ph type="ftr" sz="quarter" idx="3"/>
          </p:nvPr>
        </p:nvSpPr>
        <p:spPr/>
        <p:txBody>
          <a:bodyPr/>
          <a:lstStyle/>
          <a:p>
            <a:r>
              <a:rPr lang="en-US" smtClean="0"/>
              <a:t>Confidential</a:t>
            </a:r>
            <a:endParaRPr lang="en-US"/>
          </a:p>
        </p:txBody>
      </p:sp>
      <p:sp>
        <p:nvSpPr>
          <p:cNvPr id="5" name="Slide Number Placeholder 4"/>
          <p:cNvSpPr>
            <a:spLocks noGrp="1"/>
          </p:cNvSpPr>
          <p:nvPr>
            <p:ph type="sldNum" sz="quarter" idx="4"/>
          </p:nvPr>
        </p:nvSpPr>
        <p:spPr/>
        <p:txBody>
          <a:bodyPr/>
          <a:lstStyle/>
          <a:p>
            <a:pPr defTabSz="914363"/>
            <a:fld id="{727B4C2D-45E2-4621-8491-2995EB46A674}" type="slidenum">
              <a:rPr lang="en-US" smtClean="0"/>
              <a:pPr defTabSz="914363"/>
              <a:t>34</a:t>
            </a:fld>
            <a:endParaRPr lang="en-US"/>
          </a:p>
        </p:txBody>
      </p:sp>
    </p:spTree>
    <p:extLst>
      <p:ext uri="{BB962C8B-B14F-4D97-AF65-F5344CB8AC3E}">
        <p14:creationId xmlns:p14="http://schemas.microsoft.com/office/powerpoint/2010/main" val="1455680475"/>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3"/>
          <a:stretch>
            <a:fillRect/>
          </a:stretch>
        </p:blipFill>
        <p:spPr>
          <a:xfrm>
            <a:off x="0" y="0"/>
            <a:ext cx="12192000" cy="6858000"/>
          </a:xfrm>
          <a:prstGeom prst="rect">
            <a:avLst/>
          </a:prstGeom>
        </p:spPr>
      </p:pic>
      <p:sp>
        <p:nvSpPr>
          <p:cNvPr id="3" name="Footer Placeholder 2"/>
          <p:cNvSpPr>
            <a:spLocks noGrp="1"/>
          </p:cNvSpPr>
          <p:nvPr>
            <p:ph type="ftr" sz="quarter" idx="3"/>
          </p:nvPr>
        </p:nvSpPr>
        <p:spPr/>
        <p:txBody>
          <a:bodyPr/>
          <a:lstStyle/>
          <a:p>
            <a:r>
              <a:rPr lang="en-US">
                <a:solidFill>
                  <a:schemeClr val="bg1"/>
                </a:solidFill>
              </a:rPr>
              <a:t>Confidential</a:t>
            </a:r>
          </a:p>
        </p:txBody>
      </p:sp>
      <p:sp>
        <p:nvSpPr>
          <p:cNvPr id="5" name="Freeform: Shape 4"/>
          <p:cNvSpPr/>
          <p:nvPr/>
        </p:nvSpPr>
        <p:spPr>
          <a:xfrm>
            <a:off x="0" y="6515100"/>
            <a:ext cx="12192000" cy="342900"/>
          </a:xfrm>
          <a:custGeom>
            <a:avLst/>
            <a:gdLst>
              <a:gd name="connsiteX0" fmla="*/ 12192000 w 12192000"/>
              <a:gd name="connsiteY0" fmla="*/ 0 h 342900"/>
              <a:gd name="connsiteX1" fmla="*/ 12192000 w 12192000"/>
              <a:gd name="connsiteY1" fmla="*/ 342900 h 342900"/>
              <a:gd name="connsiteX2" fmla="*/ 0 w 12192000"/>
              <a:gd name="connsiteY2" fmla="*/ 342900 h 342900"/>
              <a:gd name="connsiteX3" fmla="*/ 0 w 12192000"/>
              <a:gd name="connsiteY3" fmla="*/ 260092 h 342900"/>
            </a:gdLst>
            <a:ahLst/>
            <a:cxnLst>
              <a:cxn ang="0">
                <a:pos x="connsiteX0" y="connsiteY0"/>
              </a:cxn>
              <a:cxn ang="0">
                <a:pos x="connsiteX1" y="connsiteY1"/>
              </a:cxn>
              <a:cxn ang="0">
                <a:pos x="connsiteX2" y="connsiteY2"/>
              </a:cxn>
              <a:cxn ang="0">
                <a:pos x="connsiteX3" y="connsiteY3"/>
              </a:cxn>
            </a:cxnLst>
            <a:rect l="l" t="t" r="r" b="b"/>
            <a:pathLst>
              <a:path w="12192000" h="342900">
                <a:moveTo>
                  <a:pt x="12192000" y="0"/>
                </a:moveTo>
                <a:lnTo>
                  <a:pt x="12192000" y="342900"/>
                </a:lnTo>
                <a:lnTo>
                  <a:pt x="0" y="342900"/>
                </a:lnTo>
                <a:lnTo>
                  <a:pt x="0" y="260092"/>
                </a:lnTo>
                <a:close/>
              </a:path>
            </a:pathLst>
          </a:custGeom>
          <a:solidFill>
            <a:schemeClr val="accent1"/>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US" sz="800">
                <a:solidFill>
                  <a:schemeClr val="bg1">
                    <a:lumMod val="75000"/>
                  </a:schemeClr>
                </a:solidFill>
              </a:rPr>
              <a:t>©Valorem</a:t>
            </a:r>
          </a:p>
        </p:txBody>
      </p:sp>
      <p:pic>
        <p:nvPicPr>
          <p:cNvPr id="6" name="Picture 5"/>
          <p:cNvPicPr>
            <a:picLocks noChangeAspect="1"/>
          </p:cNvPicPr>
          <p:nvPr/>
        </p:nvPicPr>
        <p:blipFill>
          <a:blip r:embed="rId4"/>
          <a:stretch>
            <a:fillRect/>
          </a:stretch>
        </p:blipFill>
        <p:spPr>
          <a:xfrm>
            <a:off x="508000" y="6162485"/>
            <a:ext cx="400543" cy="400543"/>
          </a:xfrm>
          <a:prstGeom prst="rect">
            <a:avLst/>
          </a:prstGeom>
        </p:spPr>
      </p:pic>
      <p:sp>
        <p:nvSpPr>
          <p:cNvPr id="9" name="Rectangle 8"/>
          <p:cNvSpPr/>
          <p:nvPr/>
        </p:nvSpPr>
        <p:spPr>
          <a:xfrm>
            <a:off x="507999" y="754744"/>
            <a:ext cx="4702629" cy="5257942"/>
          </a:xfrm>
          <a:prstGeom prst="rect">
            <a:avLst/>
          </a:prstGeom>
          <a:solidFill>
            <a:schemeClr val="bg2"/>
          </a:solidFill>
          <a:ln w="25400">
            <a:noFill/>
            <a:headEnd type="triangle"/>
            <a:tailEnd type="none"/>
          </a:ln>
          <a:effectLst>
            <a:outerShdw blurRad="50800" dist="38100" dir="5400000" algn="t"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r>
              <a:rPr lang="en-US" sz="2000" dirty="0" smtClean="0">
                <a:solidFill>
                  <a:schemeClr val="accent2"/>
                </a:solidFill>
                <a:latin typeface="Segoe UI Semibold" panose="020B0702040204020203" pitchFamily="34" charset="0"/>
                <a:cs typeface="Segoe UI Semibold" panose="020B0702040204020203" pitchFamily="34" charset="0"/>
              </a:rPr>
              <a:t>What we learned</a:t>
            </a:r>
            <a:endParaRPr lang="en-US" sz="2000" dirty="0">
              <a:solidFill>
                <a:schemeClr val="accent2"/>
              </a:solidFill>
              <a:latin typeface="Segoe UI Semibold" panose="020B0702040204020203" pitchFamily="34" charset="0"/>
              <a:cs typeface="Segoe UI Semibold" panose="020B0702040204020203" pitchFamily="34" charset="0"/>
            </a:endParaRPr>
          </a:p>
          <a:p>
            <a:pPr marL="285750" indent="-285750">
              <a:spcBef>
                <a:spcPts val="1200"/>
              </a:spcBef>
              <a:buFont typeface="Arial" panose="020B0604020202020204" pitchFamily="34" charset="0"/>
              <a:buChar char="•"/>
            </a:pPr>
            <a:r>
              <a:rPr lang="en-US" dirty="0" smtClean="0">
                <a:solidFill>
                  <a:schemeClr val="tx2"/>
                </a:solidFill>
                <a:cs typeface="Segoe UI Semibold" panose="020B0702040204020203" pitchFamily="34" charset="0"/>
              </a:rPr>
              <a:t>Azure Data Factory used to collect local data</a:t>
            </a:r>
          </a:p>
          <a:p>
            <a:pPr marL="285750" indent="-285750">
              <a:spcBef>
                <a:spcPts val="1200"/>
              </a:spcBef>
              <a:buFont typeface="Arial" panose="020B0604020202020204" pitchFamily="34" charset="0"/>
              <a:buChar char="•"/>
            </a:pPr>
            <a:r>
              <a:rPr lang="en-US" dirty="0" smtClean="0">
                <a:solidFill>
                  <a:schemeClr val="tx2"/>
                </a:solidFill>
                <a:cs typeface="Segoe UI Semibold" panose="020B0702040204020203" pitchFamily="34" charset="0"/>
              </a:rPr>
              <a:t>Store data on Azure Storage</a:t>
            </a:r>
          </a:p>
          <a:p>
            <a:pPr marL="285750" indent="-285750">
              <a:spcBef>
                <a:spcPts val="1200"/>
              </a:spcBef>
              <a:buFont typeface="Arial" panose="020B0604020202020204" pitchFamily="34" charset="0"/>
              <a:buChar char="•"/>
            </a:pPr>
            <a:r>
              <a:rPr lang="en-US" dirty="0" smtClean="0">
                <a:solidFill>
                  <a:schemeClr val="tx2"/>
                </a:solidFill>
                <a:cs typeface="Segoe UI Semibold" panose="020B0702040204020203" pitchFamily="34" charset="0"/>
              </a:rPr>
              <a:t>Use cloud data to build a predictive model</a:t>
            </a:r>
          </a:p>
          <a:p>
            <a:pPr marL="285750" indent="-285750">
              <a:spcBef>
                <a:spcPts val="1200"/>
              </a:spcBef>
              <a:buFont typeface="Arial" panose="020B0604020202020204" pitchFamily="34" charset="0"/>
              <a:buChar char="•"/>
            </a:pPr>
            <a:r>
              <a:rPr lang="en-US" dirty="0" smtClean="0">
                <a:solidFill>
                  <a:schemeClr val="tx2"/>
                </a:solidFill>
                <a:cs typeface="Segoe UI Semibold" panose="020B0702040204020203" pitchFamily="34" charset="0"/>
              </a:rPr>
              <a:t>Deploy predictive model and an API</a:t>
            </a:r>
          </a:p>
          <a:p>
            <a:pPr marL="285750" indent="-285750">
              <a:spcBef>
                <a:spcPts val="1200"/>
              </a:spcBef>
              <a:buFont typeface="Arial" panose="020B0604020202020204" pitchFamily="34" charset="0"/>
              <a:buChar char="•"/>
            </a:pPr>
            <a:r>
              <a:rPr lang="en-US" dirty="0" smtClean="0">
                <a:solidFill>
                  <a:schemeClr val="tx2"/>
                </a:solidFill>
                <a:cs typeface="Segoe UI Semibold" panose="020B0702040204020203" pitchFamily="34" charset="0"/>
              </a:rPr>
              <a:t>Consume the API in Excel</a:t>
            </a:r>
          </a:p>
          <a:p>
            <a:pPr marL="285750" indent="-285750">
              <a:spcBef>
                <a:spcPts val="1200"/>
              </a:spcBef>
              <a:buFont typeface="Arial" panose="020B0604020202020204" pitchFamily="34" charset="0"/>
              <a:buChar char="•"/>
            </a:pPr>
            <a:r>
              <a:rPr lang="en-US" dirty="0" smtClean="0">
                <a:solidFill>
                  <a:schemeClr val="tx2"/>
                </a:solidFill>
                <a:cs typeface="Segoe UI Semibold" panose="020B0702040204020203" pitchFamily="34" charset="0"/>
              </a:rPr>
              <a:t>Leverage Power BI to democratize the results from machine </a:t>
            </a:r>
            <a:r>
              <a:rPr lang="en-US" dirty="0">
                <a:solidFill>
                  <a:schemeClr val="tx2"/>
                </a:solidFill>
                <a:cs typeface="Segoe UI Semibold" panose="020B0702040204020203" pitchFamily="34" charset="0"/>
              </a:rPr>
              <a:t>l</a:t>
            </a:r>
            <a:r>
              <a:rPr lang="en-US" dirty="0" smtClean="0">
                <a:solidFill>
                  <a:schemeClr val="tx2"/>
                </a:solidFill>
                <a:cs typeface="Segoe UI Semibold" panose="020B0702040204020203" pitchFamily="34" charset="0"/>
              </a:rPr>
              <a:t>earning investments</a:t>
            </a:r>
            <a:endParaRPr lang="en-US" dirty="0">
              <a:solidFill>
                <a:schemeClr val="tx2"/>
              </a:solidFill>
              <a:cs typeface="Segoe UI Semibold" panose="020B0702040204020203" pitchFamily="34" charset="0"/>
            </a:endParaRPr>
          </a:p>
        </p:txBody>
      </p:sp>
      <p:sp>
        <p:nvSpPr>
          <p:cNvPr id="13" name="Slide Number Placeholder 12"/>
          <p:cNvSpPr>
            <a:spLocks noGrp="1"/>
          </p:cNvSpPr>
          <p:nvPr>
            <p:ph type="sldNum" sz="quarter" idx="4"/>
          </p:nvPr>
        </p:nvSpPr>
        <p:spPr/>
        <p:txBody>
          <a:bodyPr/>
          <a:lstStyle/>
          <a:p>
            <a:pPr defTabSz="914363"/>
            <a:fld id="{727B4C2D-45E2-4621-8491-2995EB46A674}" type="slidenum">
              <a:rPr lang="en-US" smtClean="0">
                <a:solidFill>
                  <a:schemeClr val="bg2"/>
                </a:solidFill>
              </a:rPr>
              <a:pPr defTabSz="914363"/>
              <a:t>35</a:t>
            </a:fld>
            <a:endParaRPr lang="en-US">
              <a:solidFill>
                <a:schemeClr val="bg2"/>
              </a:solidFill>
            </a:endParaRPr>
          </a:p>
        </p:txBody>
      </p:sp>
    </p:spTree>
    <p:extLst>
      <p:ext uri="{BB962C8B-B14F-4D97-AF65-F5344CB8AC3E}">
        <p14:creationId xmlns:p14="http://schemas.microsoft.com/office/powerpoint/2010/main" val="3655622985"/>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latin typeface="Segoe UI Light"/>
                <a:cs typeface="Segoe UI Light"/>
              </a:rPr>
              <a:t>THANK YOU</a:t>
            </a:r>
            <a:endParaRPr lang="en-US" sz="6600">
              <a:latin typeface="Segoe UI Light"/>
              <a:cs typeface="Segoe UI Light"/>
            </a:endParaRPr>
          </a:p>
        </p:txBody>
      </p:sp>
      <p:sp>
        <p:nvSpPr>
          <p:cNvPr id="4" name="Text Placeholder 3"/>
          <p:cNvSpPr>
            <a:spLocks noGrp="1"/>
          </p:cNvSpPr>
          <p:nvPr>
            <p:ph type="body" sz="quarter" idx="12"/>
          </p:nvPr>
        </p:nvSpPr>
        <p:spPr>
          <a:xfrm>
            <a:off x="522514" y="3935091"/>
            <a:ext cx="11161486" cy="619323"/>
          </a:xfrm>
        </p:spPr>
        <p:txBody>
          <a:bodyPr/>
          <a:lstStyle/>
          <a:p>
            <a:r>
              <a:rPr lang="en-US" dirty="0" smtClean="0"/>
              <a:t>Cliff Weaver</a:t>
            </a:r>
            <a:endParaRPr lang="en-US" dirty="0"/>
          </a:p>
          <a:p>
            <a:r>
              <a:rPr lang="en-US" sz="1400" dirty="0" smtClean="0">
                <a:latin typeface="+mn-lt"/>
              </a:rPr>
              <a:t>Data Scientist</a:t>
            </a:r>
            <a:endParaRPr lang="en-US" sz="1400" dirty="0">
              <a:latin typeface="+mn-lt"/>
            </a:endParaRPr>
          </a:p>
          <a:p>
            <a:pPr>
              <a:spcBef>
                <a:spcPts val="1800"/>
              </a:spcBef>
            </a:pPr>
            <a:r>
              <a:rPr lang="en-US" sz="1400" dirty="0" smtClean="0">
                <a:latin typeface="+mn-lt"/>
                <a:hlinkClick r:id="rId3"/>
              </a:rPr>
              <a:t>cweaver@valorem.com</a:t>
            </a:r>
            <a:endParaRPr lang="en-US" sz="1400" dirty="0">
              <a:latin typeface="+mn-lt"/>
            </a:endParaRPr>
          </a:p>
          <a:p>
            <a:r>
              <a:rPr lang="en-US" sz="1400" dirty="0" smtClean="0">
                <a:latin typeface="+mn-lt"/>
              </a:rPr>
              <a:t>(816) 406-1501</a:t>
            </a:r>
            <a:endParaRPr lang="en-US" sz="1400" dirty="0">
              <a:latin typeface="+mn-lt"/>
            </a:endParaRPr>
          </a:p>
        </p:txBody>
      </p:sp>
    </p:spTree>
    <p:extLst>
      <p:ext uri="{BB962C8B-B14F-4D97-AF65-F5344CB8AC3E}">
        <p14:creationId xmlns:p14="http://schemas.microsoft.com/office/powerpoint/2010/main" val="2739617098"/>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19248" y="1447799"/>
            <a:ext cx="11151917" cy="4308872"/>
          </a:xfrm>
        </p:spPr>
        <p:txBody>
          <a:bodyPr/>
          <a:lstStyle/>
          <a:p>
            <a:r>
              <a:rPr lang="en-US" sz="2000" dirty="0" smtClean="0"/>
              <a:t>Data questions to always ask:</a:t>
            </a:r>
          </a:p>
          <a:p>
            <a:pPr marL="571500" indent="-571500">
              <a:spcBef>
                <a:spcPts val="600"/>
              </a:spcBef>
              <a:buFont typeface="Arial" panose="020B0604020202020204" pitchFamily="34" charset="0"/>
              <a:buChar char="•"/>
            </a:pPr>
            <a:r>
              <a:rPr lang="en-US" sz="2000" dirty="0" smtClean="0"/>
              <a:t>What kind of information is captured in each column?</a:t>
            </a:r>
          </a:p>
          <a:p>
            <a:pPr marL="571500" indent="-571500">
              <a:spcBef>
                <a:spcPts val="600"/>
              </a:spcBef>
              <a:buFont typeface="Arial" panose="020B0604020202020204" pitchFamily="34" charset="0"/>
              <a:buChar char="•"/>
            </a:pPr>
            <a:r>
              <a:rPr lang="en-US" sz="2000" dirty="0" smtClean="0"/>
              <a:t>How specifically is each variable captured?</a:t>
            </a:r>
          </a:p>
          <a:p>
            <a:pPr marL="571500" indent="-571500">
              <a:spcBef>
                <a:spcPts val="600"/>
              </a:spcBef>
              <a:buFont typeface="Arial" panose="020B0604020202020204" pitchFamily="34" charset="0"/>
              <a:buChar char="•"/>
            </a:pPr>
            <a:r>
              <a:rPr lang="en-US" sz="2000" dirty="0" smtClean="0"/>
              <a:t>Are missing values high informational content?</a:t>
            </a:r>
          </a:p>
          <a:p>
            <a:pPr marL="571500" indent="-571500">
              <a:spcBef>
                <a:spcPts val="600"/>
              </a:spcBef>
              <a:buFont typeface="Arial" panose="020B0604020202020204" pitchFamily="34" charset="0"/>
              <a:buChar char="•"/>
            </a:pPr>
            <a:r>
              <a:rPr lang="en-US" sz="2000" dirty="0" smtClean="0"/>
              <a:t>Are the outliers meaningful or data entry errors?</a:t>
            </a:r>
          </a:p>
          <a:p>
            <a:pPr marL="571500" indent="-571500">
              <a:spcBef>
                <a:spcPts val="600"/>
              </a:spcBef>
              <a:buFont typeface="Arial" panose="020B0604020202020204" pitchFamily="34" charset="0"/>
              <a:buChar char="•"/>
            </a:pPr>
            <a:r>
              <a:rPr lang="en-US" sz="2000" dirty="0" smtClean="0"/>
              <a:t>Should the variables be used as provided or should new variables be derived from the given data?</a:t>
            </a:r>
          </a:p>
          <a:p>
            <a:pPr marL="571500" indent="-571500">
              <a:spcBef>
                <a:spcPts val="600"/>
              </a:spcBef>
              <a:buFont typeface="Arial" panose="020B0604020202020204" pitchFamily="34" charset="0"/>
              <a:buChar char="•"/>
            </a:pPr>
            <a:r>
              <a:rPr lang="en-US" sz="2000" dirty="0" smtClean="0"/>
              <a:t>What is the distribution or each variable values?</a:t>
            </a:r>
          </a:p>
          <a:p>
            <a:pPr marL="571500" indent="-571500">
              <a:spcBef>
                <a:spcPts val="600"/>
              </a:spcBef>
              <a:buFont typeface="Arial" panose="020B0604020202020204" pitchFamily="34" charset="0"/>
              <a:buChar char="•"/>
            </a:pPr>
            <a:r>
              <a:rPr lang="en-US" sz="2000" dirty="0" smtClean="0"/>
              <a:t>Numeric, ordinal or categorical?  If categorical, are there industry standards that groups this data?</a:t>
            </a:r>
          </a:p>
          <a:p>
            <a:pPr marL="571500" indent="-571500">
              <a:spcBef>
                <a:spcPts val="600"/>
              </a:spcBef>
              <a:buFont typeface="Arial" panose="020B0604020202020204" pitchFamily="34" charset="0"/>
              <a:buChar char="•"/>
            </a:pPr>
            <a:endParaRPr lang="en-US" sz="2000" dirty="0" smtClean="0"/>
          </a:p>
          <a:p>
            <a:endParaRPr lang="en-US" dirty="0"/>
          </a:p>
        </p:txBody>
      </p:sp>
      <p:sp>
        <p:nvSpPr>
          <p:cNvPr id="3" name="Title 2"/>
          <p:cNvSpPr>
            <a:spLocks noGrp="1"/>
          </p:cNvSpPr>
          <p:nvPr>
            <p:ph type="title"/>
          </p:nvPr>
        </p:nvSpPr>
        <p:spPr/>
        <p:txBody>
          <a:bodyPr/>
          <a:lstStyle/>
          <a:p>
            <a:r>
              <a:rPr lang="en-US" dirty="0" smtClean="0"/>
              <a:t>My Notes</a:t>
            </a:r>
            <a:endParaRPr lang="en-US" dirty="0"/>
          </a:p>
        </p:txBody>
      </p:sp>
      <p:sp>
        <p:nvSpPr>
          <p:cNvPr id="4" name="Footer Placeholder 3"/>
          <p:cNvSpPr>
            <a:spLocks noGrp="1"/>
          </p:cNvSpPr>
          <p:nvPr>
            <p:ph type="ftr" sz="quarter" idx="3"/>
          </p:nvPr>
        </p:nvSpPr>
        <p:spPr/>
        <p:txBody>
          <a:bodyPr/>
          <a:lstStyle/>
          <a:p>
            <a:r>
              <a:rPr lang="en-US" smtClean="0"/>
              <a:t>Confidential</a:t>
            </a:r>
            <a:endParaRPr lang="en-US"/>
          </a:p>
        </p:txBody>
      </p:sp>
      <p:sp>
        <p:nvSpPr>
          <p:cNvPr id="5" name="Slide Number Placeholder 4"/>
          <p:cNvSpPr>
            <a:spLocks noGrp="1"/>
          </p:cNvSpPr>
          <p:nvPr>
            <p:ph type="sldNum" sz="quarter" idx="4"/>
          </p:nvPr>
        </p:nvSpPr>
        <p:spPr/>
        <p:txBody>
          <a:bodyPr/>
          <a:lstStyle/>
          <a:p>
            <a:pPr defTabSz="914363"/>
            <a:fld id="{727B4C2D-45E2-4621-8491-2995EB46A674}" type="slidenum">
              <a:rPr lang="en-US" smtClean="0"/>
              <a:pPr defTabSz="914363"/>
              <a:t>37</a:t>
            </a:fld>
            <a:endParaRPr lang="en-US"/>
          </a:p>
        </p:txBody>
      </p:sp>
    </p:spTree>
    <p:extLst>
      <p:ext uri="{BB962C8B-B14F-4D97-AF65-F5344CB8AC3E}">
        <p14:creationId xmlns:p14="http://schemas.microsoft.com/office/powerpoint/2010/main" val="3190613277"/>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4" name="Rectangle 473"/>
          <p:cNvSpPr/>
          <p:nvPr/>
        </p:nvSpPr>
        <p:spPr>
          <a:xfrm>
            <a:off x="4254140" y="3453607"/>
            <a:ext cx="1778019" cy="2459037"/>
          </a:xfrm>
          <a:prstGeom prst="rect">
            <a:avLst/>
          </a:prstGeom>
          <a:solidFill>
            <a:schemeClr val="accent2"/>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pic>
        <p:nvPicPr>
          <p:cNvPr id="483" name="Picture 482"/>
          <p:cNvPicPr>
            <a:picLocks noChangeAspect="1"/>
          </p:cNvPicPr>
          <p:nvPr/>
        </p:nvPicPr>
        <p:blipFill rotWithShape="1">
          <a:blip r:embed="rId3">
            <a:extLst>
              <a:ext uri="{28A0092B-C50C-407E-A947-70E740481C1C}">
                <a14:useLocalDpi xmlns:a14="http://schemas.microsoft.com/office/drawing/2010/main" val="0"/>
              </a:ext>
            </a:extLst>
          </a:blip>
          <a:srcRect l="25794"/>
          <a:stretch/>
        </p:blipFill>
        <p:spPr>
          <a:xfrm>
            <a:off x="4253501" y="3443652"/>
            <a:ext cx="2737991" cy="2459820"/>
          </a:xfrm>
          <a:custGeom>
            <a:avLst/>
            <a:gdLst>
              <a:gd name="connsiteX0" fmla="*/ 0 w 1778019"/>
              <a:gd name="connsiteY0" fmla="*/ 0 h 2459037"/>
              <a:gd name="connsiteX1" fmla="*/ 1778019 w 1778019"/>
              <a:gd name="connsiteY1" fmla="*/ 0 h 2459037"/>
              <a:gd name="connsiteX2" fmla="*/ 1778019 w 1778019"/>
              <a:gd name="connsiteY2" fmla="*/ 2459037 h 2459037"/>
              <a:gd name="connsiteX3" fmla="*/ 0 w 1778019"/>
              <a:gd name="connsiteY3" fmla="*/ 2459037 h 2459037"/>
            </a:gdLst>
            <a:ahLst/>
            <a:cxnLst>
              <a:cxn ang="0">
                <a:pos x="connsiteX0" y="connsiteY0"/>
              </a:cxn>
              <a:cxn ang="0">
                <a:pos x="connsiteX1" y="connsiteY1"/>
              </a:cxn>
              <a:cxn ang="0">
                <a:pos x="connsiteX2" y="connsiteY2"/>
              </a:cxn>
              <a:cxn ang="0">
                <a:pos x="connsiteX3" y="connsiteY3"/>
              </a:cxn>
            </a:cxnLst>
            <a:rect l="l" t="t" r="r" b="b"/>
            <a:pathLst>
              <a:path w="1778019" h="2459037">
                <a:moveTo>
                  <a:pt x="0" y="0"/>
                </a:moveTo>
                <a:lnTo>
                  <a:pt x="1778019" y="0"/>
                </a:lnTo>
                <a:lnTo>
                  <a:pt x="1778019" y="2459037"/>
                </a:lnTo>
                <a:lnTo>
                  <a:pt x="0" y="2459037"/>
                </a:lnTo>
                <a:close/>
              </a:path>
            </a:pathLst>
          </a:custGeom>
        </p:spPr>
      </p:pic>
      <p:sp>
        <p:nvSpPr>
          <p:cNvPr id="2" name="Footer Placeholder 1"/>
          <p:cNvSpPr>
            <a:spLocks noGrp="1"/>
          </p:cNvSpPr>
          <p:nvPr>
            <p:ph type="ftr" sz="quarter" idx="4294967295"/>
          </p:nvPr>
        </p:nvSpPr>
        <p:spPr>
          <a:xfrm>
            <a:off x="4038600" y="6253029"/>
            <a:ext cx="4114800" cy="219455"/>
          </a:xfrm>
        </p:spPr>
        <p:txBody>
          <a:bodyPr/>
          <a:lstStyle/>
          <a:p>
            <a:r>
              <a:rPr lang="en-US"/>
              <a:t>Confidential</a:t>
            </a:r>
          </a:p>
        </p:txBody>
      </p:sp>
      <p:sp>
        <p:nvSpPr>
          <p:cNvPr id="3" name="Slide Number Placeholder 2"/>
          <p:cNvSpPr>
            <a:spLocks noGrp="1"/>
          </p:cNvSpPr>
          <p:nvPr>
            <p:ph type="sldNum" sz="quarter" idx="4"/>
          </p:nvPr>
        </p:nvSpPr>
        <p:spPr/>
        <p:txBody>
          <a:bodyPr/>
          <a:lstStyle/>
          <a:p>
            <a:pPr defTabSz="914363"/>
            <a:fld id="{727B4C2D-45E2-4621-8491-2995EB46A674}" type="slidenum">
              <a:rPr lang="en-US" smtClean="0"/>
              <a:pPr defTabSz="914363"/>
              <a:t>4</a:t>
            </a:fld>
            <a:endParaRPr lang="en-US"/>
          </a:p>
        </p:txBody>
      </p:sp>
      <p:pic>
        <p:nvPicPr>
          <p:cNvPr id="29" name="Picture 2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28830" y="940296"/>
            <a:ext cx="3682989" cy="2455325"/>
          </a:xfrm>
          <a:prstGeom prst="rect">
            <a:avLst/>
          </a:prstGeom>
        </p:spPr>
      </p:pic>
      <p:sp>
        <p:nvSpPr>
          <p:cNvPr id="30" name="Rectangle 29"/>
          <p:cNvSpPr/>
          <p:nvPr/>
        </p:nvSpPr>
        <p:spPr>
          <a:xfrm>
            <a:off x="8859045" y="944884"/>
            <a:ext cx="2824668" cy="2459037"/>
          </a:xfrm>
          <a:prstGeom prst="rect">
            <a:avLst/>
          </a:prstGeom>
          <a:solidFill>
            <a:schemeClr val="accent1"/>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lvl="0">
              <a:spcAft>
                <a:spcPts val="200"/>
              </a:spcAft>
              <a:defRPr/>
            </a:pPr>
            <a:r>
              <a:rPr lang="en-US" b="1" kern="0">
                <a:solidFill>
                  <a:schemeClr val="bg1"/>
                </a:solidFill>
              </a:rPr>
              <a:t>SEATTLE</a:t>
            </a:r>
          </a:p>
          <a:p>
            <a:pPr lvl="0">
              <a:defRPr/>
            </a:pPr>
            <a:r>
              <a:rPr lang="en-US" sz="1600" kern="0">
                <a:solidFill>
                  <a:schemeClr val="bg1"/>
                </a:solidFill>
              </a:rPr>
              <a:t>1201 Western Ave. #350 Seattle, WA 98101</a:t>
            </a:r>
          </a:p>
        </p:txBody>
      </p:sp>
      <p:sp>
        <p:nvSpPr>
          <p:cNvPr id="26" name="Rectangle 25"/>
          <p:cNvSpPr/>
          <p:nvPr/>
        </p:nvSpPr>
        <p:spPr>
          <a:xfrm>
            <a:off x="2286019" y="3453607"/>
            <a:ext cx="1905701" cy="2459037"/>
          </a:xfrm>
          <a:prstGeom prst="rect">
            <a:avLst/>
          </a:prstGeom>
          <a:solidFill>
            <a:schemeClr val="accent1"/>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lvl="0">
              <a:spcAft>
                <a:spcPts val="200"/>
              </a:spcAft>
              <a:defRPr/>
            </a:pPr>
            <a:r>
              <a:rPr lang="en-US" sz="2000" b="1" kern="0">
                <a:solidFill>
                  <a:schemeClr val="bg1"/>
                </a:solidFill>
              </a:rPr>
              <a:t>ST. LOUIS</a:t>
            </a:r>
          </a:p>
          <a:p>
            <a:pPr lvl="0">
              <a:defRPr/>
            </a:pPr>
            <a:r>
              <a:rPr lang="en-US" sz="1600" kern="0">
                <a:solidFill>
                  <a:schemeClr val="bg1"/>
                </a:solidFill>
              </a:rPr>
              <a:t>111 Westport Plaza Dr., </a:t>
            </a:r>
            <a:r>
              <a:rPr lang="en-US" sz="1600" kern="0" err="1">
                <a:solidFill>
                  <a:schemeClr val="bg1"/>
                </a:solidFill>
              </a:rPr>
              <a:t>Ste</a:t>
            </a:r>
            <a:r>
              <a:rPr lang="en-US" sz="1600" kern="0">
                <a:solidFill>
                  <a:schemeClr val="bg1"/>
                </a:solidFill>
              </a:rPr>
              <a:t> 600 </a:t>
            </a:r>
            <a:br>
              <a:rPr lang="en-US" sz="1600" kern="0">
                <a:solidFill>
                  <a:schemeClr val="bg1"/>
                </a:solidFill>
              </a:rPr>
            </a:br>
            <a:r>
              <a:rPr lang="en-US" sz="1600" kern="0">
                <a:solidFill>
                  <a:schemeClr val="bg1"/>
                </a:solidFill>
              </a:rPr>
              <a:t>St. Louis, </a:t>
            </a:r>
            <a:br>
              <a:rPr lang="en-US" sz="1600" kern="0">
                <a:solidFill>
                  <a:schemeClr val="bg1"/>
                </a:solidFill>
              </a:rPr>
            </a:br>
            <a:r>
              <a:rPr lang="en-US" sz="1600" kern="0">
                <a:solidFill>
                  <a:schemeClr val="bg1"/>
                </a:solidFill>
              </a:rPr>
              <a:t>MO 63146</a:t>
            </a:r>
          </a:p>
        </p:txBody>
      </p:sp>
      <p:pic>
        <p:nvPicPr>
          <p:cNvPr id="27" name="Picture 26"/>
          <p:cNvPicPr>
            <a:picLocks noChangeAspect="1"/>
          </p:cNvPicPr>
          <p:nvPr/>
        </p:nvPicPr>
        <p:blipFill rotWithShape="1">
          <a:blip r:embed="rId5" cstate="hqprint">
            <a:extLst>
              <a:ext uri="{28A0092B-C50C-407E-A947-70E740481C1C}">
                <a14:useLocalDpi xmlns:a14="http://schemas.microsoft.com/office/drawing/2010/main" val="0"/>
              </a:ext>
            </a:extLst>
          </a:blip>
          <a:srcRect l="20205" r="25257"/>
          <a:stretch/>
        </p:blipFill>
        <p:spPr>
          <a:xfrm>
            <a:off x="502929" y="3453607"/>
            <a:ext cx="1788161" cy="2459038"/>
          </a:xfrm>
          <a:prstGeom prst="rect">
            <a:avLst/>
          </a:prstGeom>
        </p:spPr>
      </p:pic>
      <p:pic>
        <p:nvPicPr>
          <p:cNvPr id="485" name="Picture 48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000281" y="3453607"/>
            <a:ext cx="3683432" cy="2459037"/>
          </a:xfrm>
          <a:custGeom>
            <a:avLst/>
            <a:gdLst>
              <a:gd name="connsiteX0" fmla="*/ 0 w 1778019"/>
              <a:gd name="connsiteY0" fmla="*/ 0 h 2459037"/>
              <a:gd name="connsiteX1" fmla="*/ 1778019 w 1778019"/>
              <a:gd name="connsiteY1" fmla="*/ 0 h 2459037"/>
              <a:gd name="connsiteX2" fmla="*/ 1778019 w 1778019"/>
              <a:gd name="connsiteY2" fmla="*/ 2459037 h 2459037"/>
              <a:gd name="connsiteX3" fmla="*/ 0 w 1778019"/>
              <a:gd name="connsiteY3" fmla="*/ 2459037 h 2459037"/>
            </a:gdLst>
            <a:ahLst/>
            <a:cxnLst>
              <a:cxn ang="0">
                <a:pos x="connsiteX0" y="connsiteY0"/>
              </a:cxn>
              <a:cxn ang="0">
                <a:pos x="connsiteX1" y="connsiteY1"/>
              </a:cxn>
              <a:cxn ang="0">
                <a:pos x="connsiteX2" y="connsiteY2"/>
              </a:cxn>
              <a:cxn ang="0">
                <a:pos x="connsiteX3" y="connsiteY3"/>
              </a:cxn>
            </a:cxnLst>
            <a:rect l="l" t="t" r="r" b="b"/>
            <a:pathLst>
              <a:path w="1778019" h="2459037">
                <a:moveTo>
                  <a:pt x="0" y="0"/>
                </a:moveTo>
                <a:lnTo>
                  <a:pt x="1778019" y="0"/>
                </a:lnTo>
                <a:lnTo>
                  <a:pt x="1778019" y="2459037"/>
                </a:lnTo>
                <a:lnTo>
                  <a:pt x="0" y="2459037"/>
                </a:lnTo>
                <a:close/>
              </a:path>
            </a:pathLst>
          </a:custGeom>
        </p:spPr>
      </p:pic>
      <p:pic>
        <p:nvPicPr>
          <p:cNvPr id="480" name="Picture 479"/>
          <p:cNvPicPr>
            <a:picLocks noChangeAspect="1"/>
          </p:cNvPicPr>
          <p:nvPr/>
        </p:nvPicPr>
        <p:blipFill rotWithShape="1">
          <a:blip r:embed="rId7">
            <a:extLst>
              <a:ext uri="{28A0092B-C50C-407E-A947-70E740481C1C}">
                <a14:useLocalDpi xmlns:a14="http://schemas.microsoft.com/office/drawing/2010/main" val="0"/>
              </a:ext>
            </a:extLst>
          </a:blip>
          <a:srcRect l="17114" t="418" b="-418"/>
          <a:stretch/>
        </p:blipFill>
        <p:spPr>
          <a:xfrm>
            <a:off x="500933" y="944564"/>
            <a:ext cx="3070072" cy="2469312"/>
          </a:xfrm>
          <a:custGeom>
            <a:avLst/>
            <a:gdLst>
              <a:gd name="connsiteX0" fmla="*/ 0 w 2730500"/>
              <a:gd name="connsiteY0" fmla="*/ 0 h 2459037"/>
              <a:gd name="connsiteX1" fmla="*/ 2730500 w 2730500"/>
              <a:gd name="connsiteY1" fmla="*/ 0 h 2459037"/>
              <a:gd name="connsiteX2" fmla="*/ 2730500 w 2730500"/>
              <a:gd name="connsiteY2" fmla="*/ 2459037 h 2459037"/>
              <a:gd name="connsiteX3" fmla="*/ 0 w 2730500"/>
              <a:gd name="connsiteY3" fmla="*/ 2459037 h 2459037"/>
            </a:gdLst>
            <a:ahLst/>
            <a:cxnLst>
              <a:cxn ang="0">
                <a:pos x="connsiteX0" y="connsiteY0"/>
              </a:cxn>
              <a:cxn ang="0">
                <a:pos x="connsiteX1" y="connsiteY1"/>
              </a:cxn>
              <a:cxn ang="0">
                <a:pos x="connsiteX2" y="connsiteY2"/>
              </a:cxn>
              <a:cxn ang="0">
                <a:pos x="connsiteX3" y="connsiteY3"/>
              </a:cxn>
            </a:cxnLst>
            <a:rect l="l" t="t" r="r" b="b"/>
            <a:pathLst>
              <a:path w="2730500" h="2459037">
                <a:moveTo>
                  <a:pt x="0" y="0"/>
                </a:moveTo>
                <a:lnTo>
                  <a:pt x="2730500" y="0"/>
                </a:lnTo>
                <a:lnTo>
                  <a:pt x="2730500" y="2459037"/>
                </a:lnTo>
                <a:lnTo>
                  <a:pt x="0" y="2459037"/>
                </a:lnTo>
                <a:close/>
              </a:path>
            </a:pathLst>
          </a:custGeom>
        </p:spPr>
      </p:pic>
      <p:sp>
        <p:nvSpPr>
          <p:cNvPr id="9" name="Rectangle 8"/>
          <p:cNvSpPr/>
          <p:nvPr/>
        </p:nvSpPr>
        <p:spPr>
          <a:xfrm>
            <a:off x="3238500" y="944884"/>
            <a:ext cx="2824668" cy="2459037"/>
          </a:xfrm>
          <a:prstGeom prst="rect">
            <a:avLst/>
          </a:prstGeom>
          <a:solidFill>
            <a:schemeClr val="accent1"/>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spcAft>
                <a:spcPts val="200"/>
              </a:spcAft>
            </a:pPr>
            <a:r>
              <a:rPr lang="en-US" b="1">
                <a:solidFill>
                  <a:schemeClr val="bg1"/>
                </a:solidFill>
              </a:rPr>
              <a:t>KANSAS CITY</a:t>
            </a:r>
          </a:p>
          <a:p>
            <a:r>
              <a:rPr lang="en-US" sz="1600">
                <a:solidFill>
                  <a:schemeClr val="bg1"/>
                </a:solidFill>
              </a:rPr>
              <a:t>2101 Broadway, Ste 31 Kansas City, MO 64108</a:t>
            </a:r>
          </a:p>
        </p:txBody>
      </p:sp>
      <p:sp>
        <p:nvSpPr>
          <p:cNvPr id="478" name="Rectangle 477"/>
          <p:cNvSpPr/>
          <p:nvPr/>
        </p:nvSpPr>
        <p:spPr>
          <a:xfrm>
            <a:off x="6032159" y="3453607"/>
            <a:ext cx="1905701" cy="2459037"/>
          </a:xfrm>
          <a:prstGeom prst="rect">
            <a:avLst/>
          </a:prstGeom>
          <a:solidFill>
            <a:schemeClr val="accent1"/>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spcAft>
                <a:spcPts val="200"/>
              </a:spcAft>
            </a:pPr>
            <a:r>
              <a:rPr lang="en-US" b="1">
                <a:solidFill>
                  <a:schemeClr val="bg1"/>
                </a:solidFill>
              </a:rPr>
              <a:t>KOCHI</a:t>
            </a:r>
          </a:p>
          <a:p>
            <a:r>
              <a:rPr lang="en-US" sz="1600">
                <a:solidFill>
                  <a:schemeClr val="bg1"/>
                </a:solidFill>
              </a:rPr>
              <a:t>33/2361 B5 Jacob Towers Kochi,</a:t>
            </a:r>
            <a:br>
              <a:rPr lang="en-US" sz="1600">
                <a:solidFill>
                  <a:schemeClr val="bg1"/>
                </a:solidFill>
              </a:rPr>
            </a:br>
            <a:r>
              <a:rPr lang="en-US" sz="1600">
                <a:solidFill>
                  <a:schemeClr val="bg1"/>
                </a:solidFill>
              </a:rPr>
              <a:t>India 682019</a:t>
            </a:r>
          </a:p>
        </p:txBody>
      </p:sp>
      <p:sp>
        <p:nvSpPr>
          <p:cNvPr id="479" name="Rectangle 478"/>
          <p:cNvSpPr/>
          <p:nvPr/>
        </p:nvSpPr>
        <p:spPr>
          <a:xfrm>
            <a:off x="9778299" y="3453607"/>
            <a:ext cx="1905701" cy="2459037"/>
          </a:xfrm>
          <a:prstGeom prst="rect">
            <a:avLst/>
          </a:prstGeom>
          <a:solidFill>
            <a:schemeClr val="accent1"/>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spcAft>
                <a:spcPts val="200"/>
              </a:spcAft>
            </a:pPr>
            <a:r>
              <a:rPr lang="en-US" b="1">
                <a:solidFill>
                  <a:schemeClr val="bg1"/>
                </a:solidFill>
              </a:rPr>
              <a:t>HERRLIBERG</a:t>
            </a:r>
          </a:p>
          <a:p>
            <a:r>
              <a:rPr lang="en-US" sz="1600" err="1">
                <a:solidFill>
                  <a:schemeClr val="bg1"/>
                </a:solidFill>
              </a:rPr>
              <a:t>Ackerstrasse</a:t>
            </a:r>
            <a:r>
              <a:rPr lang="en-US" sz="1600">
                <a:solidFill>
                  <a:schemeClr val="bg1"/>
                </a:solidFill>
              </a:rPr>
              <a:t> 13 8704 </a:t>
            </a:r>
            <a:r>
              <a:rPr lang="en-US" sz="1600" err="1">
                <a:solidFill>
                  <a:schemeClr val="bg1"/>
                </a:solidFill>
              </a:rPr>
              <a:t>Herrliberg</a:t>
            </a:r>
            <a:r>
              <a:rPr lang="en-US" sz="1600">
                <a:solidFill>
                  <a:schemeClr val="bg1"/>
                </a:solidFill>
              </a:rPr>
              <a:t>, Switzerland</a:t>
            </a:r>
          </a:p>
        </p:txBody>
      </p:sp>
      <p:sp>
        <p:nvSpPr>
          <p:cNvPr id="486" name="Rectangle 485"/>
          <p:cNvSpPr/>
          <p:nvPr/>
        </p:nvSpPr>
        <p:spPr>
          <a:xfrm>
            <a:off x="3238500" y="3022600"/>
            <a:ext cx="2824668" cy="304800"/>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spcAft>
                <a:spcPts val="200"/>
              </a:spcAft>
            </a:pPr>
            <a:r>
              <a:rPr lang="en-US" sz="1200" b="1">
                <a:solidFill>
                  <a:schemeClr val="bg1"/>
                </a:solidFill>
              </a:rPr>
              <a:t>(816) 398-8949</a:t>
            </a:r>
          </a:p>
        </p:txBody>
      </p:sp>
      <p:sp>
        <p:nvSpPr>
          <p:cNvPr id="487" name="Rectangle 486"/>
          <p:cNvSpPr/>
          <p:nvPr/>
        </p:nvSpPr>
        <p:spPr>
          <a:xfrm>
            <a:off x="8859332" y="3051496"/>
            <a:ext cx="2824668" cy="304800"/>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spcAft>
                <a:spcPts val="200"/>
              </a:spcAft>
            </a:pPr>
            <a:r>
              <a:rPr lang="en-US" sz="1200" b="1">
                <a:solidFill>
                  <a:schemeClr val="bg1"/>
                </a:solidFill>
              </a:rPr>
              <a:t>(855) 864-9929</a:t>
            </a:r>
          </a:p>
        </p:txBody>
      </p:sp>
      <p:sp>
        <p:nvSpPr>
          <p:cNvPr id="488" name="Rectangle 487"/>
          <p:cNvSpPr/>
          <p:nvPr/>
        </p:nvSpPr>
        <p:spPr>
          <a:xfrm>
            <a:off x="2286019" y="5539108"/>
            <a:ext cx="1905700" cy="304800"/>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spcAft>
                <a:spcPts val="200"/>
              </a:spcAft>
            </a:pPr>
            <a:r>
              <a:rPr lang="en-US" sz="1200" b="1">
                <a:solidFill>
                  <a:schemeClr val="bg1"/>
                </a:solidFill>
              </a:rPr>
              <a:t>(314) 696-0030</a:t>
            </a:r>
          </a:p>
        </p:txBody>
      </p:sp>
      <p:sp>
        <p:nvSpPr>
          <p:cNvPr id="490" name="Rectangle 489"/>
          <p:cNvSpPr/>
          <p:nvPr/>
        </p:nvSpPr>
        <p:spPr>
          <a:xfrm>
            <a:off x="6032160" y="5539108"/>
            <a:ext cx="1905700" cy="304800"/>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spcAft>
                <a:spcPts val="200"/>
              </a:spcAft>
            </a:pPr>
            <a:r>
              <a:rPr lang="en-US" sz="1200" b="1">
                <a:solidFill>
                  <a:schemeClr val="bg1"/>
                </a:solidFill>
              </a:rPr>
              <a:t>+91 484-280-3193</a:t>
            </a:r>
          </a:p>
        </p:txBody>
      </p:sp>
      <p:sp>
        <p:nvSpPr>
          <p:cNvPr id="491" name="Rectangle 490"/>
          <p:cNvSpPr/>
          <p:nvPr/>
        </p:nvSpPr>
        <p:spPr>
          <a:xfrm>
            <a:off x="9778300" y="5539108"/>
            <a:ext cx="1905700" cy="304800"/>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spcAft>
                <a:spcPts val="200"/>
              </a:spcAft>
            </a:pPr>
            <a:r>
              <a:rPr lang="en-US" sz="1200" b="1">
                <a:solidFill>
                  <a:schemeClr val="bg1"/>
                </a:solidFill>
              </a:rPr>
              <a:t>+41 435-004-265</a:t>
            </a:r>
          </a:p>
        </p:txBody>
      </p:sp>
      <p:sp>
        <p:nvSpPr>
          <p:cNvPr id="492" name="Freeform 54"/>
          <p:cNvSpPr>
            <a:spLocks/>
          </p:cNvSpPr>
          <p:nvPr/>
        </p:nvSpPr>
        <p:spPr bwMode="auto">
          <a:xfrm>
            <a:off x="5804482" y="3027187"/>
            <a:ext cx="164517" cy="295626"/>
          </a:xfrm>
          <a:custGeom>
            <a:avLst/>
            <a:gdLst>
              <a:gd name="connsiteX0" fmla="*/ 930274 w 1860550"/>
              <a:gd name="connsiteY0" fmla="*/ 2997199 h 3343276"/>
              <a:gd name="connsiteX1" fmla="*/ 898524 w 1860550"/>
              <a:gd name="connsiteY1" fmla="*/ 3030537 h 3343276"/>
              <a:gd name="connsiteX2" fmla="*/ 930274 w 1860550"/>
              <a:gd name="connsiteY2" fmla="*/ 3063875 h 3343276"/>
              <a:gd name="connsiteX3" fmla="*/ 962024 w 1860550"/>
              <a:gd name="connsiteY3" fmla="*/ 3030537 h 3343276"/>
              <a:gd name="connsiteX4" fmla="*/ 930274 w 1860550"/>
              <a:gd name="connsiteY4" fmla="*/ 2997199 h 3343276"/>
              <a:gd name="connsiteX5" fmla="*/ 930275 w 1860550"/>
              <a:gd name="connsiteY5" fmla="*/ 2874962 h 3343276"/>
              <a:gd name="connsiteX6" fmla="*/ 1084263 w 1860550"/>
              <a:gd name="connsiteY6" fmla="*/ 3029744 h 3343276"/>
              <a:gd name="connsiteX7" fmla="*/ 930275 w 1860550"/>
              <a:gd name="connsiteY7" fmla="*/ 3184526 h 3343276"/>
              <a:gd name="connsiteX8" fmla="*/ 776287 w 1860550"/>
              <a:gd name="connsiteY8" fmla="*/ 3029744 h 3343276"/>
              <a:gd name="connsiteX9" fmla="*/ 930275 w 1860550"/>
              <a:gd name="connsiteY9" fmla="*/ 2874962 h 3343276"/>
              <a:gd name="connsiteX10" fmla="*/ 122238 w 1860550"/>
              <a:gd name="connsiteY10" fmla="*/ 2844800 h 3343276"/>
              <a:gd name="connsiteX11" fmla="*/ 122238 w 1860550"/>
              <a:gd name="connsiteY11" fmla="*/ 2858922 h 3343276"/>
              <a:gd name="connsiteX12" fmla="*/ 122238 w 1860550"/>
              <a:gd name="connsiteY12" fmla="*/ 2919914 h 3343276"/>
              <a:gd name="connsiteX13" fmla="*/ 122238 w 1860550"/>
              <a:gd name="connsiteY13" fmla="*/ 2937881 h 3343276"/>
              <a:gd name="connsiteX14" fmla="*/ 122238 w 1860550"/>
              <a:gd name="connsiteY14" fmla="*/ 2976361 h 3343276"/>
              <a:gd name="connsiteX15" fmla="*/ 122238 w 1860550"/>
              <a:gd name="connsiteY15" fmla="*/ 2994458 h 3343276"/>
              <a:gd name="connsiteX16" fmla="*/ 122238 w 1860550"/>
              <a:gd name="connsiteY16" fmla="*/ 3016807 h 3343276"/>
              <a:gd name="connsiteX17" fmla="*/ 122238 w 1860550"/>
              <a:gd name="connsiteY17" fmla="*/ 3032384 h 3343276"/>
              <a:gd name="connsiteX18" fmla="*/ 122238 w 1860550"/>
              <a:gd name="connsiteY18" fmla="*/ 3043919 h 3343276"/>
              <a:gd name="connsiteX19" fmla="*/ 122238 w 1860550"/>
              <a:gd name="connsiteY19" fmla="*/ 3055388 h 3343276"/>
              <a:gd name="connsiteX20" fmla="*/ 122238 w 1860550"/>
              <a:gd name="connsiteY20" fmla="*/ 3067200 h 3343276"/>
              <a:gd name="connsiteX21" fmla="*/ 122238 w 1860550"/>
              <a:gd name="connsiteY21" fmla="*/ 3068809 h 3343276"/>
              <a:gd name="connsiteX22" fmla="*/ 122238 w 1860550"/>
              <a:gd name="connsiteY22" fmla="*/ 3072174 h 3343276"/>
              <a:gd name="connsiteX23" fmla="*/ 268324 w 1860550"/>
              <a:gd name="connsiteY23" fmla="*/ 3221038 h 3343276"/>
              <a:gd name="connsiteX24" fmla="*/ 1589184 w 1860550"/>
              <a:gd name="connsiteY24" fmla="*/ 3221038 h 3343276"/>
              <a:gd name="connsiteX25" fmla="*/ 1738313 w 1860550"/>
              <a:gd name="connsiteY25" fmla="*/ 3072174 h 3343276"/>
              <a:gd name="connsiteX26" fmla="*/ 1738313 w 1860550"/>
              <a:gd name="connsiteY26" fmla="*/ 2997250 h 3343276"/>
              <a:gd name="connsiteX27" fmla="*/ 1738313 w 1860550"/>
              <a:gd name="connsiteY27" fmla="*/ 2940804 h 3343276"/>
              <a:gd name="connsiteX28" fmla="*/ 1738313 w 1860550"/>
              <a:gd name="connsiteY28" fmla="*/ 2900358 h 3343276"/>
              <a:gd name="connsiteX29" fmla="*/ 1738313 w 1860550"/>
              <a:gd name="connsiteY29" fmla="*/ 2873246 h 3343276"/>
              <a:gd name="connsiteX30" fmla="*/ 1738313 w 1860550"/>
              <a:gd name="connsiteY30" fmla="*/ 2848356 h 3343276"/>
              <a:gd name="connsiteX31" fmla="*/ 1738313 w 1860550"/>
              <a:gd name="connsiteY31" fmla="*/ 2844800 h 3343276"/>
              <a:gd name="connsiteX32" fmla="*/ 122238 w 1860550"/>
              <a:gd name="connsiteY32" fmla="*/ 461963 h 3343276"/>
              <a:gd name="connsiteX33" fmla="*/ 122238 w 1860550"/>
              <a:gd name="connsiteY33" fmla="*/ 525582 h 3343276"/>
              <a:gd name="connsiteX34" fmla="*/ 122238 w 1860550"/>
              <a:gd name="connsiteY34" fmla="*/ 2618936 h 3343276"/>
              <a:gd name="connsiteX35" fmla="*/ 122238 w 1860550"/>
              <a:gd name="connsiteY35" fmla="*/ 2722563 h 3343276"/>
              <a:gd name="connsiteX36" fmla="*/ 169032 w 1860550"/>
              <a:gd name="connsiteY36" fmla="*/ 2722563 h 3343276"/>
              <a:gd name="connsiteX37" fmla="*/ 1704747 w 1860550"/>
              <a:gd name="connsiteY37" fmla="*/ 2722563 h 3343276"/>
              <a:gd name="connsiteX38" fmla="*/ 1738313 w 1860550"/>
              <a:gd name="connsiteY38" fmla="*/ 2722563 h 3343276"/>
              <a:gd name="connsiteX39" fmla="*/ 1738313 w 1860550"/>
              <a:gd name="connsiteY39" fmla="*/ 2521894 h 3343276"/>
              <a:gd name="connsiteX40" fmla="*/ 1738313 w 1860550"/>
              <a:gd name="connsiteY40" fmla="*/ 505665 h 3343276"/>
              <a:gd name="connsiteX41" fmla="*/ 1738313 w 1860550"/>
              <a:gd name="connsiteY41" fmla="*/ 461963 h 3343276"/>
              <a:gd name="connsiteX42" fmla="*/ 1691518 w 1860550"/>
              <a:gd name="connsiteY42" fmla="*/ 461963 h 3343276"/>
              <a:gd name="connsiteX43" fmla="*/ 155803 w 1860550"/>
              <a:gd name="connsiteY43" fmla="*/ 461963 h 3343276"/>
              <a:gd name="connsiteX44" fmla="*/ 721442 w 1860550"/>
              <a:gd name="connsiteY44" fmla="*/ 169863 h 3343276"/>
              <a:gd name="connsiteX45" fmla="*/ 1072433 w 1860550"/>
              <a:gd name="connsiteY45" fmla="*/ 169863 h 3343276"/>
              <a:gd name="connsiteX46" fmla="*/ 1133475 w 1860550"/>
              <a:gd name="connsiteY46" fmla="*/ 230982 h 3343276"/>
              <a:gd name="connsiteX47" fmla="*/ 1072433 w 1860550"/>
              <a:gd name="connsiteY47" fmla="*/ 292101 h 3343276"/>
              <a:gd name="connsiteX48" fmla="*/ 721442 w 1860550"/>
              <a:gd name="connsiteY48" fmla="*/ 292101 h 3343276"/>
              <a:gd name="connsiteX49" fmla="*/ 660400 w 1860550"/>
              <a:gd name="connsiteY49" fmla="*/ 230982 h 3343276"/>
              <a:gd name="connsiteX50" fmla="*/ 721442 w 1860550"/>
              <a:gd name="connsiteY50" fmla="*/ 169863 h 3343276"/>
              <a:gd name="connsiteX51" fmla="*/ 1281907 w 1860550"/>
              <a:gd name="connsiteY51" fmla="*/ 149225 h 3343276"/>
              <a:gd name="connsiteX52" fmla="*/ 1363664 w 1860550"/>
              <a:gd name="connsiteY52" fmla="*/ 229394 h 3343276"/>
              <a:gd name="connsiteX53" fmla="*/ 1281907 w 1860550"/>
              <a:gd name="connsiteY53" fmla="*/ 309563 h 3343276"/>
              <a:gd name="connsiteX54" fmla="*/ 1200150 w 1860550"/>
              <a:gd name="connsiteY54" fmla="*/ 229394 h 3343276"/>
              <a:gd name="connsiteX55" fmla="*/ 1281907 w 1860550"/>
              <a:gd name="connsiteY55" fmla="*/ 149225 h 3343276"/>
              <a:gd name="connsiteX56" fmla="*/ 268324 w 1860550"/>
              <a:gd name="connsiteY56" fmla="*/ 122238 h 3343276"/>
              <a:gd name="connsiteX57" fmla="*/ 122238 w 1860550"/>
              <a:gd name="connsiteY57" fmla="*/ 271331 h 3343276"/>
              <a:gd name="connsiteX58" fmla="*/ 122238 w 1860550"/>
              <a:gd name="connsiteY58" fmla="*/ 341313 h 3343276"/>
              <a:gd name="connsiteX59" fmla="*/ 1738313 w 1860550"/>
              <a:gd name="connsiteY59" fmla="*/ 341313 h 3343276"/>
              <a:gd name="connsiteX60" fmla="*/ 1738313 w 1860550"/>
              <a:gd name="connsiteY60" fmla="*/ 314869 h 3343276"/>
              <a:gd name="connsiteX61" fmla="*/ 1738313 w 1860550"/>
              <a:gd name="connsiteY61" fmla="*/ 300855 h 3343276"/>
              <a:gd name="connsiteX62" fmla="*/ 1738313 w 1860550"/>
              <a:gd name="connsiteY62" fmla="*/ 289566 h 3343276"/>
              <a:gd name="connsiteX63" fmla="*/ 1738313 w 1860550"/>
              <a:gd name="connsiteY63" fmla="*/ 280079 h 3343276"/>
              <a:gd name="connsiteX64" fmla="*/ 1738313 w 1860550"/>
              <a:gd name="connsiteY64" fmla="*/ 276573 h 3343276"/>
              <a:gd name="connsiteX65" fmla="*/ 1738313 w 1860550"/>
              <a:gd name="connsiteY65" fmla="*/ 271331 h 3343276"/>
              <a:gd name="connsiteX66" fmla="*/ 1589184 w 1860550"/>
              <a:gd name="connsiteY66" fmla="*/ 122238 h 3343276"/>
              <a:gd name="connsiteX67" fmla="*/ 1469183 w 1860550"/>
              <a:gd name="connsiteY67" fmla="*/ 122238 h 3343276"/>
              <a:gd name="connsiteX68" fmla="*/ 1356679 w 1860550"/>
              <a:gd name="connsiteY68" fmla="*/ 122238 h 3343276"/>
              <a:gd name="connsiteX69" fmla="*/ 1153197 w 1860550"/>
              <a:gd name="connsiteY69" fmla="*/ 122238 h 3343276"/>
              <a:gd name="connsiteX70" fmla="*/ 976803 w 1860550"/>
              <a:gd name="connsiteY70" fmla="*/ 122238 h 3343276"/>
              <a:gd name="connsiteX71" fmla="*/ 825562 w 1860550"/>
              <a:gd name="connsiteY71" fmla="*/ 122238 h 3343276"/>
              <a:gd name="connsiteX72" fmla="*/ 697539 w 1860550"/>
              <a:gd name="connsiteY72" fmla="*/ 122238 h 3343276"/>
              <a:gd name="connsiteX73" fmla="*/ 590799 w 1860550"/>
              <a:gd name="connsiteY73" fmla="*/ 122238 h 3343276"/>
              <a:gd name="connsiteX74" fmla="*/ 503408 w 1860550"/>
              <a:gd name="connsiteY74" fmla="*/ 122238 h 3343276"/>
              <a:gd name="connsiteX75" fmla="*/ 433431 w 1860550"/>
              <a:gd name="connsiteY75" fmla="*/ 122238 h 3343276"/>
              <a:gd name="connsiteX76" fmla="*/ 378933 w 1860550"/>
              <a:gd name="connsiteY76" fmla="*/ 122238 h 3343276"/>
              <a:gd name="connsiteX77" fmla="*/ 337979 w 1860550"/>
              <a:gd name="connsiteY77" fmla="*/ 122238 h 3343276"/>
              <a:gd name="connsiteX78" fmla="*/ 308633 w 1860550"/>
              <a:gd name="connsiteY78" fmla="*/ 122238 h 3343276"/>
              <a:gd name="connsiteX79" fmla="*/ 288962 w 1860550"/>
              <a:gd name="connsiteY79" fmla="*/ 122238 h 3343276"/>
              <a:gd name="connsiteX80" fmla="*/ 277031 w 1860550"/>
              <a:gd name="connsiteY80" fmla="*/ 122238 h 3343276"/>
              <a:gd name="connsiteX81" fmla="*/ 270904 w 1860550"/>
              <a:gd name="connsiteY81" fmla="*/ 122238 h 3343276"/>
              <a:gd name="connsiteX82" fmla="*/ 267968 w 1860550"/>
              <a:gd name="connsiteY82" fmla="*/ 0 h 3343276"/>
              <a:gd name="connsiteX83" fmla="*/ 1589537 w 1860550"/>
              <a:gd name="connsiteY83" fmla="*/ 0 h 3343276"/>
              <a:gd name="connsiteX84" fmla="*/ 1860550 w 1860550"/>
              <a:gd name="connsiteY84" fmla="*/ 270492 h 3343276"/>
              <a:gd name="connsiteX85" fmla="*/ 1860550 w 1860550"/>
              <a:gd name="connsiteY85" fmla="*/ 270501 h 3343276"/>
              <a:gd name="connsiteX86" fmla="*/ 1860550 w 1860550"/>
              <a:gd name="connsiteY86" fmla="*/ 461963 h 3343276"/>
              <a:gd name="connsiteX87" fmla="*/ 1860550 w 1860550"/>
              <a:gd name="connsiteY87" fmla="*/ 525090 h 3343276"/>
              <a:gd name="connsiteX88" fmla="*/ 1860550 w 1860550"/>
              <a:gd name="connsiteY88" fmla="*/ 2619341 h 3343276"/>
              <a:gd name="connsiteX89" fmla="*/ 1860550 w 1860550"/>
              <a:gd name="connsiteY89" fmla="*/ 2722563 h 3343276"/>
              <a:gd name="connsiteX90" fmla="*/ 1860550 w 1860550"/>
              <a:gd name="connsiteY90" fmla="*/ 2754314 h 3343276"/>
              <a:gd name="connsiteX91" fmla="*/ 1860550 w 1860550"/>
              <a:gd name="connsiteY91" fmla="*/ 2838062 h 3343276"/>
              <a:gd name="connsiteX92" fmla="*/ 1860550 w 1860550"/>
              <a:gd name="connsiteY92" fmla="*/ 2859431 h 3343276"/>
              <a:gd name="connsiteX93" fmla="*/ 1860550 w 1860550"/>
              <a:gd name="connsiteY93" fmla="*/ 2924856 h 3343276"/>
              <a:gd name="connsiteX94" fmla="*/ 1860550 w 1860550"/>
              <a:gd name="connsiteY94" fmla="*/ 2938424 h 3343276"/>
              <a:gd name="connsiteX95" fmla="*/ 1860550 w 1860550"/>
              <a:gd name="connsiteY95" fmla="*/ 2987047 h 3343276"/>
              <a:gd name="connsiteX96" fmla="*/ 1860550 w 1860550"/>
              <a:gd name="connsiteY96" fmla="*/ 2995025 h 3343276"/>
              <a:gd name="connsiteX97" fmla="*/ 1860550 w 1860550"/>
              <a:gd name="connsiteY97" fmla="*/ 3028736 h 3343276"/>
              <a:gd name="connsiteX98" fmla="*/ 1860550 w 1860550"/>
              <a:gd name="connsiteY98" fmla="*/ 3032967 h 3343276"/>
              <a:gd name="connsiteX99" fmla="*/ 1860550 w 1860550"/>
              <a:gd name="connsiteY99" fmla="*/ 3054023 h 3343276"/>
              <a:gd name="connsiteX100" fmla="*/ 1860550 w 1860550"/>
              <a:gd name="connsiteY100" fmla="*/ 3055980 h 3343276"/>
              <a:gd name="connsiteX101" fmla="*/ 1860550 w 1860550"/>
              <a:gd name="connsiteY101" fmla="*/ 3067008 h 3343276"/>
              <a:gd name="connsiteX102" fmla="*/ 1860550 w 1860550"/>
              <a:gd name="connsiteY102" fmla="*/ 3067798 h 3343276"/>
              <a:gd name="connsiteX103" fmla="*/ 1860550 w 1860550"/>
              <a:gd name="connsiteY103" fmla="*/ 3072475 h 3343276"/>
              <a:gd name="connsiteX104" fmla="*/ 1860550 w 1860550"/>
              <a:gd name="connsiteY104" fmla="*/ 3072774 h 3343276"/>
              <a:gd name="connsiteX105" fmla="*/ 1694831 w 1860550"/>
              <a:gd name="connsiteY105" fmla="*/ 3321952 h 3343276"/>
              <a:gd name="connsiteX106" fmla="*/ 1593989 w 1860550"/>
              <a:gd name="connsiteY106" fmla="*/ 3342374 h 3343276"/>
              <a:gd name="connsiteX107" fmla="*/ 1589537 w 1860550"/>
              <a:gd name="connsiteY107" fmla="*/ 3343276 h 3343276"/>
              <a:gd name="connsiteX108" fmla="*/ 267968 w 1860550"/>
              <a:gd name="connsiteY108" fmla="*/ 3343276 h 3343276"/>
              <a:gd name="connsiteX109" fmla="*/ 263590 w 1860550"/>
              <a:gd name="connsiteY109" fmla="*/ 3342374 h 3343276"/>
              <a:gd name="connsiteX110" fmla="*/ 164435 w 1860550"/>
              <a:gd name="connsiteY110" fmla="*/ 3321952 h 3343276"/>
              <a:gd name="connsiteX111" fmla="*/ 0 w 1860550"/>
              <a:gd name="connsiteY111" fmla="*/ 3072774 h 3343276"/>
              <a:gd name="connsiteX112" fmla="*/ 0 w 1860550"/>
              <a:gd name="connsiteY112" fmla="*/ 3072475 h 3343276"/>
              <a:gd name="connsiteX113" fmla="*/ 0 w 1860550"/>
              <a:gd name="connsiteY113" fmla="*/ 2956977 h 3343276"/>
              <a:gd name="connsiteX114" fmla="*/ 0 w 1860550"/>
              <a:gd name="connsiteY114" fmla="*/ 2870182 h 3343276"/>
              <a:gd name="connsiteX115" fmla="*/ 0 w 1860550"/>
              <a:gd name="connsiteY115" fmla="*/ 2807991 h 3343276"/>
              <a:gd name="connsiteX116" fmla="*/ 0 w 1860550"/>
              <a:gd name="connsiteY116" fmla="*/ 2787491 h 3343276"/>
              <a:gd name="connsiteX117" fmla="*/ 0 w 1860550"/>
              <a:gd name="connsiteY117" fmla="*/ 2766302 h 3343276"/>
              <a:gd name="connsiteX118" fmla="*/ 0 w 1860550"/>
              <a:gd name="connsiteY118" fmla="*/ 2741016 h 3343276"/>
              <a:gd name="connsiteX119" fmla="*/ 0 w 1860550"/>
              <a:gd name="connsiteY119" fmla="*/ 2728031 h 3343276"/>
              <a:gd name="connsiteX120" fmla="*/ 0 w 1860550"/>
              <a:gd name="connsiteY120" fmla="*/ 2722563 h 3343276"/>
              <a:gd name="connsiteX121" fmla="*/ 0 w 1860550"/>
              <a:gd name="connsiteY121" fmla="*/ 2522258 h 3343276"/>
              <a:gd name="connsiteX122" fmla="*/ 0 w 1860550"/>
              <a:gd name="connsiteY122" fmla="*/ 505164 h 3343276"/>
              <a:gd name="connsiteX123" fmla="*/ 0 w 1860550"/>
              <a:gd name="connsiteY123" fmla="*/ 461963 h 3343276"/>
              <a:gd name="connsiteX124" fmla="*/ 0 w 1860550"/>
              <a:gd name="connsiteY124" fmla="*/ 418277 h 3343276"/>
              <a:gd name="connsiteX125" fmla="*/ 0 w 1860550"/>
              <a:gd name="connsiteY125" fmla="*/ 398763 h 3343276"/>
              <a:gd name="connsiteX126" fmla="*/ 0 w 1860550"/>
              <a:gd name="connsiteY126" fmla="*/ 356020 h 3343276"/>
              <a:gd name="connsiteX127" fmla="*/ 0 w 1860550"/>
              <a:gd name="connsiteY127" fmla="*/ 351269 h 3343276"/>
              <a:gd name="connsiteX128" fmla="*/ 0 w 1860550"/>
              <a:gd name="connsiteY128" fmla="*/ 314287 h 3343276"/>
              <a:gd name="connsiteX129" fmla="*/ 0 w 1860550"/>
              <a:gd name="connsiteY129" fmla="*/ 294426 h 3343276"/>
              <a:gd name="connsiteX130" fmla="*/ 0 w 1860550"/>
              <a:gd name="connsiteY130" fmla="*/ 288973 h 3343276"/>
              <a:gd name="connsiteX131" fmla="*/ 0 w 1860550"/>
              <a:gd name="connsiteY131" fmla="*/ 275975 h 3343276"/>
              <a:gd name="connsiteX132" fmla="*/ 0 w 1860550"/>
              <a:gd name="connsiteY132" fmla="*/ 273484 h 3343276"/>
              <a:gd name="connsiteX133" fmla="*/ 0 w 1860550"/>
              <a:gd name="connsiteY133" fmla="*/ 270501 h 3343276"/>
              <a:gd name="connsiteX134" fmla="*/ 0 w 1860550"/>
              <a:gd name="connsiteY134" fmla="*/ 270492 h 3343276"/>
              <a:gd name="connsiteX135" fmla="*/ 267968 w 1860550"/>
              <a:gd name="connsiteY135" fmla="*/ 0 h 33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860550" h="3343276">
                <a:moveTo>
                  <a:pt x="930274" y="2997199"/>
                </a:moveTo>
                <a:cubicBezTo>
                  <a:pt x="912739" y="2997199"/>
                  <a:pt x="898524" y="3012125"/>
                  <a:pt x="898524" y="3030537"/>
                </a:cubicBezTo>
                <a:cubicBezTo>
                  <a:pt x="898524" y="3048949"/>
                  <a:pt x="912739" y="3063875"/>
                  <a:pt x="930274" y="3063875"/>
                </a:cubicBezTo>
                <a:cubicBezTo>
                  <a:pt x="947809" y="3063875"/>
                  <a:pt x="962024" y="3048949"/>
                  <a:pt x="962024" y="3030537"/>
                </a:cubicBezTo>
                <a:cubicBezTo>
                  <a:pt x="962024" y="3012125"/>
                  <a:pt x="947809" y="2997199"/>
                  <a:pt x="930274" y="2997199"/>
                </a:cubicBezTo>
                <a:close/>
                <a:moveTo>
                  <a:pt x="930275" y="2874962"/>
                </a:moveTo>
                <a:cubicBezTo>
                  <a:pt x="1015320" y="2874962"/>
                  <a:pt x="1084263" y="2944260"/>
                  <a:pt x="1084263" y="3029744"/>
                </a:cubicBezTo>
                <a:cubicBezTo>
                  <a:pt x="1084263" y="3115228"/>
                  <a:pt x="1015320" y="3184526"/>
                  <a:pt x="930275" y="3184526"/>
                </a:cubicBezTo>
                <a:cubicBezTo>
                  <a:pt x="845230" y="3184526"/>
                  <a:pt x="776287" y="3115228"/>
                  <a:pt x="776287" y="3029744"/>
                </a:cubicBezTo>
                <a:cubicBezTo>
                  <a:pt x="776287" y="2944260"/>
                  <a:pt x="845230" y="2874962"/>
                  <a:pt x="930275" y="2874962"/>
                </a:cubicBezTo>
                <a:close/>
                <a:moveTo>
                  <a:pt x="122238" y="2844800"/>
                </a:moveTo>
                <a:lnTo>
                  <a:pt x="122238" y="2858922"/>
                </a:lnTo>
                <a:lnTo>
                  <a:pt x="122238" y="2919914"/>
                </a:lnTo>
                <a:lnTo>
                  <a:pt x="122238" y="2937881"/>
                </a:lnTo>
                <a:lnTo>
                  <a:pt x="122238" y="2976361"/>
                </a:lnTo>
                <a:lnTo>
                  <a:pt x="122238" y="2994458"/>
                </a:lnTo>
                <a:lnTo>
                  <a:pt x="122238" y="3016807"/>
                </a:lnTo>
                <a:lnTo>
                  <a:pt x="122238" y="3032384"/>
                </a:lnTo>
                <a:lnTo>
                  <a:pt x="122238" y="3043919"/>
                </a:lnTo>
                <a:lnTo>
                  <a:pt x="122238" y="3055388"/>
                </a:lnTo>
                <a:cubicBezTo>
                  <a:pt x="122238" y="3060983"/>
                  <a:pt x="122238" y="3064714"/>
                  <a:pt x="122238" y="3067200"/>
                </a:cubicBezTo>
                <a:lnTo>
                  <a:pt x="122238" y="3068809"/>
                </a:lnTo>
                <a:lnTo>
                  <a:pt x="122238" y="3072174"/>
                </a:lnTo>
                <a:cubicBezTo>
                  <a:pt x="122238" y="3154201"/>
                  <a:pt x="189194" y="3221038"/>
                  <a:pt x="268324" y="3221038"/>
                </a:cubicBezTo>
                <a:cubicBezTo>
                  <a:pt x="1589184" y="3221038"/>
                  <a:pt x="1589184" y="3221038"/>
                  <a:pt x="1589184" y="3221038"/>
                </a:cubicBezTo>
                <a:cubicBezTo>
                  <a:pt x="1671357" y="3221038"/>
                  <a:pt x="1738313" y="3154201"/>
                  <a:pt x="1738313" y="3072174"/>
                </a:cubicBezTo>
                <a:lnTo>
                  <a:pt x="1738313" y="2997250"/>
                </a:lnTo>
                <a:lnTo>
                  <a:pt x="1738313" y="2940804"/>
                </a:lnTo>
                <a:lnTo>
                  <a:pt x="1738313" y="2900358"/>
                </a:lnTo>
                <a:lnTo>
                  <a:pt x="1738313" y="2873246"/>
                </a:lnTo>
                <a:lnTo>
                  <a:pt x="1738313" y="2848356"/>
                </a:lnTo>
                <a:lnTo>
                  <a:pt x="1738313" y="2844800"/>
                </a:lnTo>
                <a:close/>
                <a:moveTo>
                  <a:pt x="122238" y="461963"/>
                </a:moveTo>
                <a:lnTo>
                  <a:pt x="122238" y="525582"/>
                </a:lnTo>
                <a:cubicBezTo>
                  <a:pt x="122238" y="1639716"/>
                  <a:pt x="122238" y="2266416"/>
                  <a:pt x="122238" y="2618936"/>
                </a:cubicBezTo>
                <a:lnTo>
                  <a:pt x="122238" y="2722563"/>
                </a:lnTo>
                <a:lnTo>
                  <a:pt x="169032" y="2722563"/>
                </a:lnTo>
                <a:cubicBezTo>
                  <a:pt x="1096639" y="2722563"/>
                  <a:pt x="1515558" y="2722563"/>
                  <a:pt x="1704747" y="2722563"/>
                </a:cubicBezTo>
                <a:lnTo>
                  <a:pt x="1738313" y="2722563"/>
                </a:lnTo>
                <a:lnTo>
                  <a:pt x="1738313" y="2521894"/>
                </a:lnTo>
                <a:cubicBezTo>
                  <a:pt x="1738313" y="1330298"/>
                  <a:pt x="1738313" y="769547"/>
                  <a:pt x="1738313" y="505665"/>
                </a:cubicBezTo>
                <a:lnTo>
                  <a:pt x="1738313" y="461963"/>
                </a:lnTo>
                <a:lnTo>
                  <a:pt x="1691518" y="461963"/>
                </a:lnTo>
                <a:cubicBezTo>
                  <a:pt x="763911" y="461963"/>
                  <a:pt x="344992" y="461963"/>
                  <a:pt x="155803" y="461963"/>
                </a:cubicBezTo>
                <a:close/>
                <a:moveTo>
                  <a:pt x="721442" y="169863"/>
                </a:moveTo>
                <a:cubicBezTo>
                  <a:pt x="1072433" y="169863"/>
                  <a:pt x="1072433" y="169863"/>
                  <a:pt x="1072433" y="169863"/>
                </a:cubicBezTo>
                <a:cubicBezTo>
                  <a:pt x="1106006" y="169863"/>
                  <a:pt x="1133475" y="197367"/>
                  <a:pt x="1133475" y="230982"/>
                </a:cubicBezTo>
                <a:cubicBezTo>
                  <a:pt x="1133475" y="264598"/>
                  <a:pt x="1106006" y="292101"/>
                  <a:pt x="1072433" y="292101"/>
                </a:cubicBezTo>
                <a:cubicBezTo>
                  <a:pt x="721442" y="292101"/>
                  <a:pt x="721442" y="292101"/>
                  <a:pt x="721442" y="292101"/>
                </a:cubicBezTo>
                <a:cubicBezTo>
                  <a:pt x="687869" y="292101"/>
                  <a:pt x="660400" y="264598"/>
                  <a:pt x="660400" y="230982"/>
                </a:cubicBezTo>
                <a:cubicBezTo>
                  <a:pt x="660400" y="197367"/>
                  <a:pt x="687869" y="169863"/>
                  <a:pt x="721442" y="169863"/>
                </a:cubicBezTo>
                <a:close/>
                <a:moveTo>
                  <a:pt x="1281907" y="149225"/>
                </a:moveTo>
                <a:cubicBezTo>
                  <a:pt x="1327060" y="149225"/>
                  <a:pt x="1363664" y="185118"/>
                  <a:pt x="1363664" y="229394"/>
                </a:cubicBezTo>
                <a:cubicBezTo>
                  <a:pt x="1363664" y="273670"/>
                  <a:pt x="1327060" y="309563"/>
                  <a:pt x="1281907" y="309563"/>
                </a:cubicBezTo>
                <a:cubicBezTo>
                  <a:pt x="1236754" y="309563"/>
                  <a:pt x="1200150" y="273670"/>
                  <a:pt x="1200150" y="229394"/>
                </a:cubicBezTo>
                <a:cubicBezTo>
                  <a:pt x="1200150" y="185118"/>
                  <a:pt x="1236754" y="149225"/>
                  <a:pt x="1281907" y="149225"/>
                </a:cubicBezTo>
                <a:close/>
                <a:moveTo>
                  <a:pt x="268324" y="122238"/>
                </a:moveTo>
                <a:cubicBezTo>
                  <a:pt x="189194" y="122238"/>
                  <a:pt x="122238" y="189178"/>
                  <a:pt x="122238" y="271331"/>
                </a:cubicBezTo>
                <a:lnTo>
                  <a:pt x="122238" y="341313"/>
                </a:lnTo>
                <a:cubicBezTo>
                  <a:pt x="1738313" y="341313"/>
                  <a:pt x="1738313" y="341313"/>
                  <a:pt x="1738313" y="341313"/>
                </a:cubicBezTo>
                <a:lnTo>
                  <a:pt x="1738313" y="314869"/>
                </a:lnTo>
                <a:lnTo>
                  <a:pt x="1738313" y="300855"/>
                </a:lnTo>
                <a:lnTo>
                  <a:pt x="1738313" y="289566"/>
                </a:lnTo>
                <a:lnTo>
                  <a:pt x="1738313" y="280079"/>
                </a:lnTo>
                <a:lnTo>
                  <a:pt x="1738313" y="276573"/>
                </a:lnTo>
                <a:lnTo>
                  <a:pt x="1738313" y="271331"/>
                </a:lnTo>
                <a:cubicBezTo>
                  <a:pt x="1738313" y="189178"/>
                  <a:pt x="1671357" y="122238"/>
                  <a:pt x="1589184" y="122238"/>
                </a:cubicBezTo>
                <a:lnTo>
                  <a:pt x="1469183" y="122238"/>
                </a:lnTo>
                <a:lnTo>
                  <a:pt x="1356679" y="122238"/>
                </a:lnTo>
                <a:lnTo>
                  <a:pt x="1153197" y="122238"/>
                </a:lnTo>
                <a:lnTo>
                  <a:pt x="976803" y="122238"/>
                </a:lnTo>
                <a:lnTo>
                  <a:pt x="825562" y="122238"/>
                </a:lnTo>
                <a:lnTo>
                  <a:pt x="697539" y="122238"/>
                </a:lnTo>
                <a:lnTo>
                  <a:pt x="590799" y="122238"/>
                </a:lnTo>
                <a:lnTo>
                  <a:pt x="503408" y="122238"/>
                </a:lnTo>
                <a:lnTo>
                  <a:pt x="433431" y="122238"/>
                </a:lnTo>
                <a:lnTo>
                  <a:pt x="378933" y="122238"/>
                </a:lnTo>
                <a:lnTo>
                  <a:pt x="337979" y="122238"/>
                </a:lnTo>
                <a:lnTo>
                  <a:pt x="308633" y="122238"/>
                </a:lnTo>
                <a:lnTo>
                  <a:pt x="288962" y="122238"/>
                </a:lnTo>
                <a:lnTo>
                  <a:pt x="277031" y="122238"/>
                </a:lnTo>
                <a:lnTo>
                  <a:pt x="270904" y="122238"/>
                </a:lnTo>
                <a:close/>
                <a:moveTo>
                  <a:pt x="267968" y="0"/>
                </a:moveTo>
                <a:cubicBezTo>
                  <a:pt x="1589537" y="0"/>
                  <a:pt x="1589537" y="0"/>
                  <a:pt x="1589537" y="0"/>
                </a:cubicBezTo>
                <a:cubicBezTo>
                  <a:pt x="1738747" y="0"/>
                  <a:pt x="1860550" y="121569"/>
                  <a:pt x="1860550" y="270492"/>
                </a:cubicBezTo>
                <a:lnTo>
                  <a:pt x="1860550" y="270501"/>
                </a:lnTo>
                <a:lnTo>
                  <a:pt x="1860550" y="461963"/>
                </a:lnTo>
                <a:lnTo>
                  <a:pt x="1860550" y="525090"/>
                </a:lnTo>
                <a:cubicBezTo>
                  <a:pt x="1860550" y="1639702"/>
                  <a:pt x="1860550" y="2266671"/>
                  <a:pt x="1860550" y="2619341"/>
                </a:cubicBezTo>
                <a:lnTo>
                  <a:pt x="1860550" y="2722563"/>
                </a:lnTo>
                <a:lnTo>
                  <a:pt x="1860550" y="2754314"/>
                </a:lnTo>
                <a:lnTo>
                  <a:pt x="1860550" y="2838062"/>
                </a:lnTo>
                <a:lnTo>
                  <a:pt x="1860550" y="2859431"/>
                </a:lnTo>
                <a:lnTo>
                  <a:pt x="1860550" y="2924856"/>
                </a:lnTo>
                <a:lnTo>
                  <a:pt x="1860550" y="2938424"/>
                </a:lnTo>
                <a:lnTo>
                  <a:pt x="1860550" y="2987047"/>
                </a:lnTo>
                <a:lnTo>
                  <a:pt x="1860550" y="2995025"/>
                </a:lnTo>
                <a:lnTo>
                  <a:pt x="1860550" y="3028736"/>
                </a:lnTo>
                <a:lnTo>
                  <a:pt x="1860550" y="3032967"/>
                </a:lnTo>
                <a:lnTo>
                  <a:pt x="1860550" y="3054023"/>
                </a:lnTo>
                <a:lnTo>
                  <a:pt x="1860550" y="3055980"/>
                </a:lnTo>
                <a:lnTo>
                  <a:pt x="1860550" y="3067008"/>
                </a:lnTo>
                <a:lnTo>
                  <a:pt x="1860550" y="3067798"/>
                </a:lnTo>
                <a:lnTo>
                  <a:pt x="1860550" y="3072475"/>
                </a:lnTo>
                <a:lnTo>
                  <a:pt x="1860550" y="3072774"/>
                </a:lnTo>
                <a:cubicBezTo>
                  <a:pt x="1860550" y="3184470"/>
                  <a:pt x="1792036" y="3280779"/>
                  <a:pt x="1694831" y="3321952"/>
                </a:cubicBezTo>
                <a:lnTo>
                  <a:pt x="1593989" y="3342374"/>
                </a:lnTo>
                <a:lnTo>
                  <a:pt x="1589537" y="3343276"/>
                </a:lnTo>
                <a:cubicBezTo>
                  <a:pt x="267968" y="3343276"/>
                  <a:pt x="267968" y="3343276"/>
                  <a:pt x="267968" y="3343276"/>
                </a:cubicBezTo>
                <a:lnTo>
                  <a:pt x="263590" y="3342374"/>
                </a:lnTo>
                <a:lnTo>
                  <a:pt x="164435" y="3321952"/>
                </a:lnTo>
                <a:cubicBezTo>
                  <a:pt x="68515" y="3280779"/>
                  <a:pt x="0" y="3184470"/>
                  <a:pt x="0" y="3072774"/>
                </a:cubicBezTo>
                <a:lnTo>
                  <a:pt x="0" y="3072475"/>
                </a:lnTo>
                <a:lnTo>
                  <a:pt x="0" y="2956977"/>
                </a:lnTo>
                <a:lnTo>
                  <a:pt x="0" y="2870182"/>
                </a:lnTo>
                <a:lnTo>
                  <a:pt x="0" y="2807991"/>
                </a:lnTo>
                <a:lnTo>
                  <a:pt x="0" y="2787491"/>
                </a:lnTo>
                <a:lnTo>
                  <a:pt x="0" y="2766302"/>
                </a:lnTo>
                <a:lnTo>
                  <a:pt x="0" y="2741016"/>
                </a:lnTo>
                <a:lnTo>
                  <a:pt x="0" y="2728031"/>
                </a:lnTo>
                <a:lnTo>
                  <a:pt x="0" y="2722563"/>
                </a:lnTo>
                <a:lnTo>
                  <a:pt x="0" y="2522258"/>
                </a:lnTo>
                <a:cubicBezTo>
                  <a:pt x="0" y="1330151"/>
                  <a:pt x="0" y="769160"/>
                  <a:pt x="0" y="505164"/>
                </a:cubicBezTo>
                <a:lnTo>
                  <a:pt x="0" y="461963"/>
                </a:lnTo>
                <a:lnTo>
                  <a:pt x="0" y="418277"/>
                </a:lnTo>
                <a:lnTo>
                  <a:pt x="0" y="398763"/>
                </a:lnTo>
                <a:lnTo>
                  <a:pt x="0" y="356020"/>
                </a:lnTo>
                <a:lnTo>
                  <a:pt x="0" y="351269"/>
                </a:lnTo>
                <a:lnTo>
                  <a:pt x="0" y="314287"/>
                </a:lnTo>
                <a:lnTo>
                  <a:pt x="0" y="294426"/>
                </a:lnTo>
                <a:lnTo>
                  <a:pt x="0" y="288973"/>
                </a:lnTo>
                <a:cubicBezTo>
                  <a:pt x="0" y="282816"/>
                  <a:pt x="0" y="278711"/>
                  <a:pt x="0" y="275975"/>
                </a:cubicBezTo>
                <a:lnTo>
                  <a:pt x="0" y="273484"/>
                </a:lnTo>
                <a:lnTo>
                  <a:pt x="0" y="270501"/>
                </a:lnTo>
                <a:lnTo>
                  <a:pt x="0" y="270492"/>
                </a:lnTo>
                <a:cubicBezTo>
                  <a:pt x="0" y="121569"/>
                  <a:pt x="121804" y="0"/>
                  <a:pt x="267968"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493" name="Freeform 54"/>
          <p:cNvSpPr>
            <a:spLocks/>
          </p:cNvSpPr>
          <p:nvPr/>
        </p:nvSpPr>
        <p:spPr bwMode="auto">
          <a:xfrm>
            <a:off x="11425315" y="3027187"/>
            <a:ext cx="164517" cy="295626"/>
          </a:xfrm>
          <a:custGeom>
            <a:avLst/>
            <a:gdLst>
              <a:gd name="connsiteX0" fmla="*/ 930274 w 1860550"/>
              <a:gd name="connsiteY0" fmla="*/ 2997199 h 3343276"/>
              <a:gd name="connsiteX1" fmla="*/ 898524 w 1860550"/>
              <a:gd name="connsiteY1" fmla="*/ 3030537 h 3343276"/>
              <a:gd name="connsiteX2" fmla="*/ 930274 w 1860550"/>
              <a:gd name="connsiteY2" fmla="*/ 3063875 h 3343276"/>
              <a:gd name="connsiteX3" fmla="*/ 962024 w 1860550"/>
              <a:gd name="connsiteY3" fmla="*/ 3030537 h 3343276"/>
              <a:gd name="connsiteX4" fmla="*/ 930274 w 1860550"/>
              <a:gd name="connsiteY4" fmla="*/ 2997199 h 3343276"/>
              <a:gd name="connsiteX5" fmla="*/ 930275 w 1860550"/>
              <a:gd name="connsiteY5" fmla="*/ 2874962 h 3343276"/>
              <a:gd name="connsiteX6" fmla="*/ 1084263 w 1860550"/>
              <a:gd name="connsiteY6" fmla="*/ 3029744 h 3343276"/>
              <a:gd name="connsiteX7" fmla="*/ 930275 w 1860550"/>
              <a:gd name="connsiteY7" fmla="*/ 3184526 h 3343276"/>
              <a:gd name="connsiteX8" fmla="*/ 776287 w 1860550"/>
              <a:gd name="connsiteY8" fmla="*/ 3029744 h 3343276"/>
              <a:gd name="connsiteX9" fmla="*/ 930275 w 1860550"/>
              <a:gd name="connsiteY9" fmla="*/ 2874962 h 3343276"/>
              <a:gd name="connsiteX10" fmla="*/ 122238 w 1860550"/>
              <a:gd name="connsiteY10" fmla="*/ 2844800 h 3343276"/>
              <a:gd name="connsiteX11" fmla="*/ 122238 w 1860550"/>
              <a:gd name="connsiteY11" fmla="*/ 2858922 h 3343276"/>
              <a:gd name="connsiteX12" fmla="*/ 122238 w 1860550"/>
              <a:gd name="connsiteY12" fmla="*/ 2919914 h 3343276"/>
              <a:gd name="connsiteX13" fmla="*/ 122238 w 1860550"/>
              <a:gd name="connsiteY13" fmla="*/ 2937881 h 3343276"/>
              <a:gd name="connsiteX14" fmla="*/ 122238 w 1860550"/>
              <a:gd name="connsiteY14" fmla="*/ 2976361 h 3343276"/>
              <a:gd name="connsiteX15" fmla="*/ 122238 w 1860550"/>
              <a:gd name="connsiteY15" fmla="*/ 2994458 h 3343276"/>
              <a:gd name="connsiteX16" fmla="*/ 122238 w 1860550"/>
              <a:gd name="connsiteY16" fmla="*/ 3016807 h 3343276"/>
              <a:gd name="connsiteX17" fmla="*/ 122238 w 1860550"/>
              <a:gd name="connsiteY17" fmla="*/ 3032384 h 3343276"/>
              <a:gd name="connsiteX18" fmla="*/ 122238 w 1860550"/>
              <a:gd name="connsiteY18" fmla="*/ 3043919 h 3343276"/>
              <a:gd name="connsiteX19" fmla="*/ 122238 w 1860550"/>
              <a:gd name="connsiteY19" fmla="*/ 3055388 h 3343276"/>
              <a:gd name="connsiteX20" fmla="*/ 122238 w 1860550"/>
              <a:gd name="connsiteY20" fmla="*/ 3067200 h 3343276"/>
              <a:gd name="connsiteX21" fmla="*/ 122238 w 1860550"/>
              <a:gd name="connsiteY21" fmla="*/ 3068809 h 3343276"/>
              <a:gd name="connsiteX22" fmla="*/ 122238 w 1860550"/>
              <a:gd name="connsiteY22" fmla="*/ 3072174 h 3343276"/>
              <a:gd name="connsiteX23" fmla="*/ 268324 w 1860550"/>
              <a:gd name="connsiteY23" fmla="*/ 3221038 h 3343276"/>
              <a:gd name="connsiteX24" fmla="*/ 1589184 w 1860550"/>
              <a:gd name="connsiteY24" fmla="*/ 3221038 h 3343276"/>
              <a:gd name="connsiteX25" fmla="*/ 1738313 w 1860550"/>
              <a:gd name="connsiteY25" fmla="*/ 3072174 h 3343276"/>
              <a:gd name="connsiteX26" fmla="*/ 1738313 w 1860550"/>
              <a:gd name="connsiteY26" fmla="*/ 2997250 h 3343276"/>
              <a:gd name="connsiteX27" fmla="*/ 1738313 w 1860550"/>
              <a:gd name="connsiteY27" fmla="*/ 2940804 h 3343276"/>
              <a:gd name="connsiteX28" fmla="*/ 1738313 w 1860550"/>
              <a:gd name="connsiteY28" fmla="*/ 2900358 h 3343276"/>
              <a:gd name="connsiteX29" fmla="*/ 1738313 w 1860550"/>
              <a:gd name="connsiteY29" fmla="*/ 2873246 h 3343276"/>
              <a:gd name="connsiteX30" fmla="*/ 1738313 w 1860550"/>
              <a:gd name="connsiteY30" fmla="*/ 2848356 h 3343276"/>
              <a:gd name="connsiteX31" fmla="*/ 1738313 w 1860550"/>
              <a:gd name="connsiteY31" fmla="*/ 2844800 h 3343276"/>
              <a:gd name="connsiteX32" fmla="*/ 122238 w 1860550"/>
              <a:gd name="connsiteY32" fmla="*/ 461963 h 3343276"/>
              <a:gd name="connsiteX33" fmla="*/ 122238 w 1860550"/>
              <a:gd name="connsiteY33" fmla="*/ 525582 h 3343276"/>
              <a:gd name="connsiteX34" fmla="*/ 122238 w 1860550"/>
              <a:gd name="connsiteY34" fmla="*/ 2618936 h 3343276"/>
              <a:gd name="connsiteX35" fmla="*/ 122238 w 1860550"/>
              <a:gd name="connsiteY35" fmla="*/ 2722563 h 3343276"/>
              <a:gd name="connsiteX36" fmla="*/ 169032 w 1860550"/>
              <a:gd name="connsiteY36" fmla="*/ 2722563 h 3343276"/>
              <a:gd name="connsiteX37" fmla="*/ 1704747 w 1860550"/>
              <a:gd name="connsiteY37" fmla="*/ 2722563 h 3343276"/>
              <a:gd name="connsiteX38" fmla="*/ 1738313 w 1860550"/>
              <a:gd name="connsiteY38" fmla="*/ 2722563 h 3343276"/>
              <a:gd name="connsiteX39" fmla="*/ 1738313 w 1860550"/>
              <a:gd name="connsiteY39" fmla="*/ 2521894 h 3343276"/>
              <a:gd name="connsiteX40" fmla="*/ 1738313 w 1860550"/>
              <a:gd name="connsiteY40" fmla="*/ 505665 h 3343276"/>
              <a:gd name="connsiteX41" fmla="*/ 1738313 w 1860550"/>
              <a:gd name="connsiteY41" fmla="*/ 461963 h 3343276"/>
              <a:gd name="connsiteX42" fmla="*/ 1691518 w 1860550"/>
              <a:gd name="connsiteY42" fmla="*/ 461963 h 3343276"/>
              <a:gd name="connsiteX43" fmla="*/ 155803 w 1860550"/>
              <a:gd name="connsiteY43" fmla="*/ 461963 h 3343276"/>
              <a:gd name="connsiteX44" fmla="*/ 721442 w 1860550"/>
              <a:gd name="connsiteY44" fmla="*/ 169863 h 3343276"/>
              <a:gd name="connsiteX45" fmla="*/ 1072433 w 1860550"/>
              <a:gd name="connsiteY45" fmla="*/ 169863 h 3343276"/>
              <a:gd name="connsiteX46" fmla="*/ 1133475 w 1860550"/>
              <a:gd name="connsiteY46" fmla="*/ 230982 h 3343276"/>
              <a:gd name="connsiteX47" fmla="*/ 1072433 w 1860550"/>
              <a:gd name="connsiteY47" fmla="*/ 292101 h 3343276"/>
              <a:gd name="connsiteX48" fmla="*/ 721442 w 1860550"/>
              <a:gd name="connsiteY48" fmla="*/ 292101 h 3343276"/>
              <a:gd name="connsiteX49" fmla="*/ 660400 w 1860550"/>
              <a:gd name="connsiteY49" fmla="*/ 230982 h 3343276"/>
              <a:gd name="connsiteX50" fmla="*/ 721442 w 1860550"/>
              <a:gd name="connsiteY50" fmla="*/ 169863 h 3343276"/>
              <a:gd name="connsiteX51" fmla="*/ 1281907 w 1860550"/>
              <a:gd name="connsiteY51" fmla="*/ 149225 h 3343276"/>
              <a:gd name="connsiteX52" fmla="*/ 1363664 w 1860550"/>
              <a:gd name="connsiteY52" fmla="*/ 229394 h 3343276"/>
              <a:gd name="connsiteX53" fmla="*/ 1281907 w 1860550"/>
              <a:gd name="connsiteY53" fmla="*/ 309563 h 3343276"/>
              <a:gd name="connsiteX54" fmla="*/ 1200150 w 1860550"/>
              <a:gd name="connsiteY54" fmla="*/ 229394 h 3343276"/>
              <a:gd name="connsiteX55" fmla="*/ 1281907 w 1860550"/>
              <a:gd name="connsiteY55" fmla="*/ 149225 h 3343276"/>
              <a:gd name="connsiteX56" fmla="*/ 268324 w 1860550"/>
              <a:gd name="connsiteY56" fmla="*/ 122238 h 3343276"/>
              <a:gd name="connsiteX57" fmla="*/ 122238 w 1860550"/>
              <a:gd name="connsiteY57" fmla="*/ 271331 h 3343276"/>
              <a:gd name="connsiteX58" fmla="*/ 122238 w 1860550"/>
              <a:gd name="connsiteY58" fmla="*/ 341313 h 3343276"/>
              <a:gd name="connsiteX59" fmla="*/ 1738313 w 1860550"/>
              <a:gd name="connsiteY59" fmla="*/ 341313 h 3343276"/>
              <a:gd name="connsiteX60" fmla="*/ 1738313 w 1860550"/>
              <a:gd name="connsiteY60" fmla="*/ 314869 h 3343276"/>
              <a:gd name="connsiteX61" fmla="*/ 1738313 w 1860550"/>
              <a:gd name="connsiteY61" fmla="*/ 300855 h 3343276"/>
              <a:gd name="connsiteX62" fmla="*/ 1738313 w 1860550"/>
              <a:gd name="connsiteY62" fmla="*/ 289566 h 3343276"/>
              <a:gd name="connsiteX63" fmla="*/ 1738313 w 1860550"/>
              <a:gd name="connsiteY63" fmla="*/ 280079 h 3343276"/>
              <a:gd name="connsiteX64" fmla="*/ 1738313 w 1860550"/>
              <a:gd name="connsiteY64" fmla="*/ 276573 h 3343276"/>
              <a:gd name="connsiteX65" fmla="*/ 1738313 w 1860550"/>
              <a:gd name="connsiteY65" fmla="*/ 271331 h 3343276"/>
              <a:gd name="connsiteX66" fmla="*/ 1589184 w 1860550"/>
              <a:gd name="connsiteY66" fmla="*/ 122238 h 3343276"/>
              <a:gd name="connsiteX67" fmla="*/ 1469183 w 1860550"/>
              <a:gd name="connsiteY67" fmla="*/ 122238 h 3343276"/>
              <a:gd name="connsiteX68" fmla="*/ 1356679 w 1860550"/>
              <a:gd name="connsiteY68" fmla="*/ 122238 h 3343276"/>
              <a:gd name="connsiteX69" fmla="*/ 1153197 w 1860550"/>
              <a:gd name="connsiteY69" fmla="*/ 122238 h 3343276"/>
              <a:gd name="connsiteX70" fmla="*/ 976803 w 1860550"/>
              <a:gd name="connsiteY70" fmla="*/ 122238 h 3343276"/>
              <a:gd name="connsiteX71" fmla="*/ 825562 w 1860550"/>
              <a:gd name="connsiteY71" fmla="*/ 122238 h 3343276"/>
              <a:gd name="connsiteX72" fmla="*/ 697539 w 1860550"/>
              <a:gd name="connsiteY72" fmla="*/ 122238 h 3343276"/>
              <a:gd name="connsiteX73" fmla="*/ 590799 w 1860550"/>
              <a:gd name="connsiteY73" fmla="*/ 122238 h 3343276"/>
              <a:gd name="connsiteX74" fmla="*/ 503408 w 1860550"/>
              <a:gd name="connsiteY74" fmla="*/ 122238 h 3343276"/>
              <a:gd name="connsiteX75" fmla="*/ 433431 w 1860550"/>
              <a:gd name="connsiteY75" fmla="*/ 122238 h 3343276"/>
              <a:gd name="connsiteX76" fmla="*/ 378933 w 1860550"/>
              <a:gd name="connsiteY76" fmla="*/ 122238 h 3343276"/>
              <a:gd name="connsiteX77" fmla="*/ 337979 w 1860550"/>
              <a:gd name="connsiteY77" fmla="*/ 122238 h 3343276"/>
              <a:gd name="connsiteX78" fmla="*/ 308633 w 1860550"/>
              <a:gd name="connsiteY78" fmla="*/ 122238 h 3343276"/>
              <a:gd name="connsiteX79" fmla="*/ 288962 w 1860550"/>
              <a:gd name="connsiteY79" fmla="*/ 122238 h 3343276"/>
              <a:gd name="connsiteX80" fmla="*/ 277031 w 1860550"/>
              <a:gd name="connsiteY80" fmla="*/ 122238 h 3343276"/>
              <a:gd name="connsiteX81" fmla="*/ 270904 w 1860550"/>
              <a:gd name="connsiteY81" fmla="*/ 122238 h 3343276"/>
              <a:gd name="connsiteX82" fmla="*/ 267968 w 1860550"/>
              <a:gd name="connsiteY82" fmla="*/ 0 h 3343276"/>
              <a:gd name="connsiteX83" fmla="*/ 1589537 w 1860550"/>
              <a:gd name="connsiteY83" fmla="*/ 0 h 3343276"/>
              <a:gd name="connsiteX84" fmla="*/ 1860550 w 1860550"/>
              <a:gd name="connsiteY84" fmla="*/ 270492 h 3343276"/>
              <a:gd name="connsiteX85" fmla="*/ 1860550 w 1860550"/>
              <a:gd name="connsiteY85" fmla="*/ 270501 h 3343276"/>
              <a:gd name="connsiteX86" fmla="*/ 1860550 w 1860550"/>
              <a:gd name="connsiteY86" fmla="*/ 461963 h 3343276"/>
              <a:gd name="connsiteX87" fmla="*/ 1860550 w 1860550"/>
              <a:gd name="connsiteY87" fmla="*/ 525090 h 3343276"/>
              <a:gd name="connsiteX88" fmla="*/ 1860550 w 1860550"/>
              <a:gd name="connsiteY88" fmla="*/ 2619341 h 3343276"/>
              <a:gd name="connsiteX89" fmla="*/ 1860550 w 1860550"/>
              <a:gd name="connsiteY89" fmla="*/ 2722563 h 3343276"/>
              <a:gd name="connsiteX90" fmla="*/ 1860550 w 1860550"/>
              <a:gd name="connsiteY90" fmla="*/ 2754314 h 3343276"/>
              <a:gd name="connsiteX91" fmla="*/ 1860550 w 1860550"/>
              <a:gd name="connsiteY91" fmla="*/ 2838062 h 3343276"/>
              <a:gd name="connsiteX92" fmla="*/ 1860550 w 1860550"/>
              <a:gd name="connsiteY92" fmla="*/ 2859431 h 3343276"/>
              <a:gd name="connsiteX93" fmla="*/ 1860550 w 1860550"/>
              <a:gd name="connsiteY93" fmla="*/ 2924856 h 3343276"/>
              <a:gd name="connsiteX94" fmla="*/ 1860550 w 1860550"/>
              <a:gd name="connsiteY94" fmla="*/ 2938424 h 3343276"/>
              <a:gd name="connsiteX95" fmla="*/ 1860550 w 1860550"/>
              <a:gd name="connsiteY95" fmla="*/ 2987047 h 3343276"/>
              <a:gd name="connsiteX96" fmla="*/ 1860550 w 1860550"/>
              <a:gd name="connsiteY96" fmla="*/ 2995025 h 3343276"/>
              <a:gd name="connsiteX97" fmla="*/ 1860550 w 1860550"/>
              <a:gd name="connsiteY97" fmla="*/ 3028736 h 3343276"/>
              <a:gd name="connsiteX98" fmla="*/ 1860550 w 1860550"/>
              <a:gd name="connsiteY98" fmla="*/ 3032967 h 3343276"/>
              <a:gd name="connsiteX99" fmla="*/ 1860550 w 1860550"/>
              <a:gd name="connsiteY99" fmla="*/ 3054023 h 3343276"/>
              <a:gd name="connsiteX100" fmla="*/ 1860550 w 1860550"/>
              <a:gd name="connsiteY100" fmla="*/ 3055980 h 3343276"/>
              <a:gd name="connsiteX101" fmla="*/ 1860550 w 1860550"/>
              <a:gd name="connsiteY101" fmla="*/ 3067008 h 3343276"/>
              <a:gd name="connsiteX102" fmla="*/ 1860550 w 1860550"/>
              <a:gd name="connsiteY102" fmla="*/ 3067798 h 3343276"/>
              <a:gd name="connsiteX103" fmla="*/ 1860550 w 1860550"/>
              <a:gd name="connsiteY103" fmla="*/ 3072475 h 3343276"/>
              <a:gd name="connsiteX104" fmla="*/ 1860550 w 1860550"/>
              <a:gd name="connsiteY104" fmla="*/ 3072774 h 3343276"/>
              <a:gd name="connsiteX105" fmla="*/ 1694831 w 1860550"/>
              <a:gd name="connsiteY105" fmla="*/ 3321952 h 3343276"/>
              <a:gd name="connsiteX106" fmla="*/ 1593989 w 1860550"/>
              <a:gd name="connsiteY106" fmla="*/ 3342374 h 3343276"/>
              <a:gd name="connsiteX107" fmla="*/ 1589537 w 1860550"/>
              <a:gd name="connsiteY107" fmla="*/ 3343276 h 3343276"/>
              <a:gd name="connsiteX108" fmla="*/ 267968 w 1860550"/>
              <a:gd name="connsiteY108" fmla="*/ 3343276 h 3343276"/>
              <a:gd name="connsiteX109" fmla="*/ 263590 w 1860550"/>
              <a:gd name="connsiteY109" fmla="*/ 3342374 h 3343276"/>
              <a:gd name="connsiteX110" fmla="*/ 164435 w 1860550"/>
              <a:gd name="connsiteY110" fmla="*/ 3321952 h 3343276"/>
              <a:gd name="connsiteX111" fmla="*/ 0 w 1860550"/>
              <a:gd name="connsiteY111" fmla="*/ 3072774 h 3343276"/>
              <a:gd name="connsiteX112" fmla="*/ 0 w 1860550"/>
              <a:gd name="connsiteY112" fmla="*/ 3072475 h 3343276"/>
              <a:gd name="connsiteX113" fmla="*/ 0 w 1860550"/>
              <a:gd name="connsiteY113" fmla="*/ 2956977 h 3343276"/>
              <a:gd name="connsiteX114" fmla="*/ 0 w 1860550"/>
              <a:gd name="connsiteY114" fmla="*/ 2870182 h 3343276"/>
              <a:gd name="connsiteX115" fmla="*/ 0 w 1860550"/>
              <a:gd name="connsiteY115" fmla="*/ 2807991 h 3343276"/>
              <a:gd name="connsiteX116" fmla="*/ 0 w 1860550"/>
              <a:gd name="connsiteY116" fmla="*/ 2787491 h 3343276"/>
              <a:gd name="connsiteX117" fmla="*/ 0 w 1860550"/>
              <a:gd name="connsiteY117" fmla="*/ 2766302 h 3343276"/>
              <a:gd name="connsiteX118" fmla="*/ 0 w 1860550"/>
              <a:gd name="connsiteY118" fmla="*/ 2741016 h 3343276"/>
              <a:gd name="connsiteX119" fmla="*/ 0 w 1860550"/>
              <a:gd name="connsiteY119" fmla="*/ 2728031 h 3343276"/>
              <a:gd name="connsiteX120" fmla="*/ 0 w 1860550"/>
              <a:gd name="connsiteY120" fmla="*/ 2722563 h 3343276"/>
              <a:gd name="connsiteX121" fmla="*/ 0 w 1860550"/>
              <a:gd name="connsiteY121" fmla="*/ 2522258 h 3343276"/>
              <a:gd name="connsiteX122" fmla="*/ 0 w 1860550"/>
              <a:gd name="connsiteY122" fmla="*/ 505164 h 3343276"/>
              <a:gd name="connsiteX123" fmla="*/ 0 w 1860550"/>
              <a:gd name="connsiteY123" fmla="*/ 461963 h 3343276"/>
              <a:gd name="connsiteX124" fmla="*/ 0 w 1860550"/>
              <a:gd name="connsiteY124" fmla="*/ 418277 h 3343276"/>
              <a:gd name="connsiteX125" fmla="*/ 0 w 1860550"/>
              <a:gd name="connsiteY125" fmla="*/ 398763 h 3343276"/>
              <a:gd name="connsiteX126" fmla="*/ 0 w 1860550"/>
              <a:gd name="connsiteY126" fmla="*/ 356020 h 3343276"/>
              <a:gd name="connsiteX127" fmla="*/ 0 w 1860550"/>
              <a:gd name="connsiteY127" fmla="*/ 351269 h 3343276"/>
              <a:gd name="connsiteX128" fmla="*/ 0 w 1860550"/>
              <a:gd name="connsiteY128" fmla="*/ 314287 h 3343276"/>
              <a:gd name="connsiteX129" fmla="*/ 0 w 1860550"/>
              <a:gd name="connsiteY129" fmla="*/ 294426 h 3343276"/>
              <a:gd name="connsiteX130" fmla="*/ 0 w 1860550"/>
              <a:gd name="connsiteY130" fmla="*/ 288973 h 3343276"/>
              <a:gd name="connsiteX131" fmla="*/ 0 w 1860550"/>
              <a:gd name="connsiteY131" fmla="*/ 275975 h 3343276"/>
              <a:gd name="connsiteX132" fmla="*/ 0 w 1860550"/>
              <a:gd name="connsiteY132" fmla="*/ 273484 h 3343276"/>
              <a:gd name="connsiteX133" fmla="*/ 0 w 1860550"/>
              <a:gd name="connsiteY133" fmla="*/ 270501 h 3343276"/>
              <a:gd name="connsiteX134" fmla="*/ 0 w 1860550"/>
              <a:gd name="connsiteY134" fmla="*/ 270492 h 3343276"/>
              <a:gd name="connsiteX135" fmla="*/ 267968 w 1860550"/>
              <a:gd name="connsiteY135" fmla="*/ 0 h 33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860550" h="3343276">
                <a:moveTo>
                  <a:pt x="930274" y="2997199"/>
                </a:moveTo>
                <a:cubicBezTo>
                  <a:pt x="912739" y="2997199"/>
                  <a:pt x="898524" y="3012125"/>
                  <a:pt x="898524" y="3030537"/>
                </a:cubicBezTo>
                <a:cubicBezTo>
                  <a:pt x="898524" y="3048949"/>
                  <a:pt x="912739" y="3063875"/>
                  <a:pt x="930274" y="3063875"/>
                </a:cubicBezTo>
                <a:cubicBezTo>
                  <a:pt x="947809" y="3063875"/>
                  <a:pt x="962024" y="3048949"/>
                  <a:pt x="962024" y="3030537"/>
                </a:cubicBezTo>
                <a:cubicBezTo>
                  <a:pt x="962024" y="3012125"/>
                  <a:pt x="947809" y="2997199"/>
                  <a:pt x="930274" y="2997199"/>
                </a:cubicBezTo>
                <a:close/>
                <a:moveTo>
                  <a:pt x="930275" y="2874962"/>
                </a:moveTo>
                <a:cubicBezTo>
                  <a:pt x="1015320" y="2874962"/>
                  <a:pt x="1084263" y="2944260"/>
                  <a:pt x="1084263" y="3029744"/>
                </a:cubicBezTo>
                <a:cubicBezTo>
                  <a:pt x="1084263" y="3115228"/>
                  <a:pt x="1015320" y="3184526"/>
                  <a:pt x="930275" y="3184526"/>
                </a:cubicBezTo>
                <a:cubicBezTo>
                  <a:pt x="845230" y="3184526"/>
                  <a:pt x="776287" y="3115228"/>
                  <a:pt x="776287" y="3029744"/>
                </a:cubicBezTo>
                <a:cubicBezTo>
                  <a:pt x="776287" y="2944260"/>
                  <a:pt x="845230" y="2874962"/>
                  <a:pt x="930275" y="2874962"/>
                </a:cubicBezTo>
                <a:close/>
                <a:moveTo>
                  <a:pt x="122238" y="2844800"/>
                </a:moveTo>
                <a:lnTo>
                  <a:pt x="122238" y="2858922"/>
                </a:lnTo>
                <a:lnTo>
                  <a:pt x="122238" y="2919914"/>
                </a:lnTo>
                <a:lnTo>
                  <a:pt x="122238" y="2937881"/>
                </a:lnTo>
                <a:lnTo>
                  <a:pt x="122238" y="2976361"/>
                </a:lnTo>
                <a:lnTo>
                  <a:pt x="122238" y="2994458"/>
                </a:lnTo>
                <a:lnTo>
                  <a:pt x="122238" y="3016807"/>
                </a:lnTo>
                <a:lnTo>
                  <a:pt x="122238" y="3032384"/>
                </a:lnTo>
                <a:lnTo>
                  <a:pt x="122238" y="3043919"/>
                </a:lnTo>
                <a:lnTo>
                  <a:pt x="122238" y="3055388"/>
                </a:lnTo>
                <a:cubicBezTo>
                  <a:pt x="122238" y="3060983"/>
                  <a:pt x="122238" y="3064714"/>
                  <a:pt x="122238" y="3067200"/>
                </a:cubicBezTo>
                <a:lnTo>
                  <a:pt x="122238" y="3068809"/>
                </a:lnTo>
                <a:lnTo>
                  <a:pt x="122238" y="3072174"/>
                </a:lnTo>
                <a:cubicBezTo>
                  <a:pt x="122238" y="3154201"/>
                  <a:pt x="189194" y="3221038"/>
                  <a:pt x="268324" y="3221038"/>
                </a:cubicBezTo>
                <a:cubicBezTo>
                  <a:pt x="1589184" y="3221038"/>
                  <a:pt x="1589184" y="3221038"/>
                  <a:pt x="1589184" y="3221038"/>
                </a:cubicBezTo>
                <a:cubicBezTo>
                  <a:pt x="1671357" y="3221038"/>
                  <a:pt x="1738313" y="3154201"/>
                  <a:pt x="1738313" y="3072174"/>
                </a:cubicBezTo>
                <a:lnTo>
                  <a:pt x="1738313" y="2997250"/>
                </a:lnTo>
                <a:lnTo>
                  <a:pt x="1738313" y="2940804"/>
                </a:lnTo>
                <a:lnTo>
                  <a:pt x="1738313" y="2900358"/>
                </a:lnTo>
                <a:lnTo>
                  <a:pt x="1738313" y="2873246"/>
                </a:lnTo>
                <a:lnTo>
                  <a:pt x="1738313" y="2848356"/>
                </a:lnTo>
                <a:lnTo>
                  <a:pt x="1738313" y="2844800"/>
                </a:lnTo>
                <a:close/>
                <a:moveTo>
                  <a:pt x="122238" y="461963"/>
                </a:moveTo>
                <a:lnTo>
                  <a:pt x="122238" y="525582"/>
                </a:lnTo>
                <a:cubicBezTo>
                  <a:pt x="122238" y="1639716"/>
                  <a:pt x="122238" y="2266416"/>
                  <a:pt x="122238" y="2618936"/>
                </a:cubicBezTo>
                <a:lnTo>
                  <a:pt x="122238" y="2722563"/>
                </a:lnTo>
                <a:lnTo>
                  <a:pt x="169032" y="2722563"/>
                </a:lnTo>
                <a:cubicBezTo>
                  <a:pt x="1096639" y="2722563"/>
                  <a:pt x="1515558" y="2722563"/>
                  <a:pt x="1704747" y="2722563"/>
                </a:cubicBezTo>
                <a:lnTo>
                  <a:pt x="1738313" y="2722563"/>
                </a:lnTo>
                <a:lnTo>
                  <a:pt x="1738313" y="2521894"/>
                </a:lnTo>
                <a:cubicBezTo>
                  <a:pt x="1738313" y="1330298"/>
                  <a:pt x="1738313" y="769547"/>
                  <a:pt x="1738313" y="505665"/>
                </a:cubicBezTo>
                <a:lnTo>
                  <a:pt x="1738313" y="461963"/>
                </a:lnTo>
                <a:lnTo>
                  <a:pt x="1691518" y="461963"/>
                </a:lnTo>
                <a:cubicBezTo>
                  <a:pt x="763911" y="461963"/>
                  <a:pt x="344992" y="461963"/>
                  <a:pt x="155803" y="461963"/>
                </a:cubicBezTo>
                <a:close/>
                <a:moveTo>
                  <a:pt x="721442" y="169863"/>
                </a:moveTo>
                <a:cubicBezTo>
                  <a:pt x="1072433" y="169863"/>
                  <a:pt x="1072433" y="169863"/>
                  <a:pt x="1072433" y="169863"/>
                </a:cubicBezTo>
                <a:cubicBezTo>
                  <a:pt x="1106006" y="169863"/>
                  <a:pt x="1133475" y="197367"/>
                  <a:pt x="1133475" y="230982"/>
                </a:cubicBezTo>
                <a:cubicBezTo>
                  <a:pt x="1133475" y="264598"/>
                  <a:pt x="1106006" y="292101"/>
                  <a:pt x="1072433" y="292101"/>
                </a:cubicBezTo>
                <a:cubicBezTo>
                  <a:pt x="721442" y="292101"/>
                  <a:pt x="721442" y="292101"/>
                  <a:pt x="721442" y="292101"/>
                </a:cubicBezTo>
                <a:cubicBezTo>
                  <a:pt x="687869" y="292101"/>
                  <a:pt x="660400" y="264598"/>
                  <a:pt x="660400" y="230982"/>
                </a:cubicBezTo>
                <a:cubicBezTo>
                  <a:pt x="660400" y="197367"/>
                  <a:pt x="687869" y="169863"/>
                  <a:pt x="721442" y="169863"/>
                </a:cubicBezTo>
                <a:close/>
                <a:moveTo>
                  <a:pt x="1281907" y="149225"/>
                </a:moveTo>
                <a:cubicBezTo>
                  <a:pt x="1327060" y="149225"/>
                  <a:pt x="1363664" y="185118"/>
                  <a:pt x="1363664" y="229394"/>
                </a:cubicBezTo>
                <a:cubicBezTo>
                  <a:pt x="1363664" y="273670"/>
                  <a:pt x="1327060" y="309563"/>
                  <a:pt x="1281907" y="309563"/>
                </a:cubicBezTo>
                <a:cubicBezTo>
                  <a:pt x="1236754" y="309563"/>
                  <a:pt x="1200150" y="273670"/>
                  <a:pt x="1200150" y="229394"/>
                </a:cubicBezTo>
                <a:cubicBezTo>
                  <a:pt x="1200150" y="185118"/>
                  <a:pt x="1236754" y="149225"/>
                  <a:pt x="1281907" y="149225"/>
                </a:cubicBezTo>
                <a:close/>
                <a:moveTo>
                  <a:pt x="268324" y="122238"/>
                </a:moveTo>
                <a:cubicBezTo>
                  <a:pt x="189194" y="122238"/>
                  <a:pt x="122238" y="189178"/>
                  <a:pt x="122238" y="271331"/>
                </a:cubicBezTo>
                <a:lnTo>
                  <a:pt x="122238" y="341313"/>
                </a:lnTo>
                <a:cubicBezTo>
                  <a:pt x="1738313" y="341313"/>
                  <a:pt x="1738313" y="341313"/>
                  <a:pt x="1738313" y="341313"/>
                </a:cubicBezTo>
                <a:lnTo>
                  <a:pt x="1738313" y="314869"/>
                </a:lnTo>
                <a:lnTo>
                  <a:pt x="1738313" y="300855"/>
                </a:lnTo>
                <a:lnTo>
                  <a:pt x="1738313" y="289566"/>
                </a:lnTo>
                <a:lnTo>
                  <a:pt x="1738313" y="280079"/>
                </a:lnTo>
                <a:lnTo>
                  <a:pt x="1738313" y="276573"/>
                </a:lnTo>
                <a:lnTo>
                  <a:pt x="1738313" y="271331"/>
                </a:lnTo>
                <a:cubicBezTo>
                  <a:pt x="1738313" y="189178"/>
                  <a:pt x="1671357" y="122238"/>
                  <a:pt x="1589184" y="122238"/>
                </a:cubicBezTo>
                <a:lnTo>
                  <a:pt x="1469183" y="122238"/>
                </a:lnTo>
                <a:lnTo>
                  <a:pt x="1356679" y="122238"/>
                </a:lnTo>
                <a:lnTo>
                  <a:pt x="1153197" y="122238"/>
                </a:lnTo>
                <a:lnTo>
                  <a:pt x="976803" y="122238"/>
                </a:lnTo>
                <a:lnTo>
                  <a:pt x="825562" y="122238"/>
                </a:lnTo>
                <a:lnTo>
                  <a:pt x="697539" y="122238"/>
                </a:lnTo>
                <a:lnTo>
                  <a:pt x="590799" y="122238"/>
                </a:lnTo>
                <a:lnTo>
                  <a:pt x="503408" y="122238"/>
                </a:lnTo>
                <a:lnTo>
                  <a:pt x="433431" y="122238"/>
                </a:lnTo>
                <a:lnTo>
                  <a:pt x="378933" y="122238"/>
                </a:lnTo>
                <a:lnTo>
                  <a:pt x="337979" y="122238"/>
                </a:lnTo>
                <a:lnTo>
                  <a:pt x="308633" y="122238"/>
                </a:lnTo>
                <a:lnTo>
                  <a:pt x="288962" y="122238"/>
                </a:lnTo>
                <a:lnTo>
                  <a:pt x="277031" y="122238"/>
                </a:lnTo>
                <a:lnTo>
                  <a:pt x="270904" y="122238"/>
                </a:lnTo>
                <a:close/>
                <a:moveTo>
                  <a:pt x="267968" y="0"/>
                </a:moveTo>
                <a:cubicBezTo>
                  <a:pt x="1589537" y="0"/>
                  <a:pt x="1589537" y="0"/>
                  <a:pt x="1589537" y="0"/>
                </a:cubicBezTo>
                <a:cubicBezTo>
                  <a:pt x="1738747" y="0"/>
                  <a:pt x="1860550" y="121569"/>
                  <a:pt x="1860550" y="270492"/>
                </a:cubicBezTo>
                <a:lnTo>
                  <a:pt x="1860550" y="270501"/>
                </a:lnTo>
                <a:lnTo>
                  <a:pt x="1860550" y="461963"/>
                </a:lnTo>
                <a:lnTo>
                  <a:pt x="1860550" y="525090"/>
                </a:lnTo>
                <a:cubicBezTo>
                  <a:pt x="1860550" y="1639702"/>
                  <a:pt x="1860550" y="2266671"/>
                  <a:pt x="1860550" y="2619341"/>
                </a:cubicBezTo>
                <a:lnTo>
                  <a:pt x="1860550" y="2722563"/>
                </a:lnTo>
                <a:lnTo>
                  <a:pt x="1860550" y="2754314"/>
                </a:lnTo>
                <a:lnTo>
                  <a:pt x="1860550" y="2838062"/>
                </a:lnTo>
                <a:lnTo>
                  <a:pt x="1860550" y="2859431"/>
                </a:lnTo>
                <a:lnTo>
                  <a:pt x="1860550" y="2924856"/>
                </a:lnTo>
                <a:lnTo>
                  <a:pt x="1860550" y="2938424"/>
                </a:lnTo>
                <a:lnTo>
                  <a:pt x="1860550" y="2987047"/>
                </a:lnTo>
                <a:lnTo>
                  <a:pt x="1860550" y="2995025"/>
                </a:lnTo>
                <a:lnTo>
                  <a:pt x="1860550" y="3028736"/>
                </a:lnTo>
                <a:lnTo>
                  <a:pt x="1860550" y="3032967"/>
                </a:lnTo>
                <a:lnTo>
                  <a:pt x="1860550" y="3054023"/>
                </a:lnTo>
                <a:lnTo>
                  <a:pt x="1860550" y="3055980"/>
                </a:lnTo>
                <a:lnTo>
                  <a:pt x="1860550" y="3067008"/>
                </a:lnTo>
                <a:lnTo>
                  <a:pt x="1860550" y="3067798"/>
                </a:lnTo>
                <a:lnTo>
                  <a:pt x="1860550" y="3072475"/>
                </a:lnTo>
                <a:lnTo>
                  <a:pt x="1860550" y="3072774"/>
                </a:lnTo>
                <a:cubicBezTo>
                  <a:pt x="1860550" y="3184470"/>
                  <a:pt x="1792036" y="3280779"/>
                  <a:pt x="1694831" y="3321952"/>
                </a:cubicBezTo>
                <a:lnTo>
                  <a:pt x="1593989" y="3342374"/>
                </a:lnTo>
                <a:lnTo>
                  <a:pt x="1589537" y="3343276"/>
                </a:lnTo>
                <a:cubicBezTo>
                  <a:pt x="267968" y="3343276"/>
                  <a:pt x="267968" y="3343276"/>
                  <a:pt x="267968" y="3343276"/>
                </a:cubicBezTo>
                <a:lnTo>
                  <a:pt x="263590" y="3342374"/>
                </a:lnTo>
                <a:lnTo>
                  <a:pt x="164435" y="3321952"/>
                </a:lnTo>
                <a:cubicBezTo>
                  <a:pt x="68515" y="3280779"/>
                  <a:pt x="0" y="3184470"/>
                  <a:pt x="0" y="3072774"/>
                </a:cubicBezTo>
                <a:lnTo>
                  <a:pt x="0" y="3072475"/>
                </a:lnTo>
                <a:lnTo>
                  <a:pt x="0" y="2956977"/>
                </a:lnTo>
                <a:lnTo>
                  <a:pt x="0" y="2870182"/>
                </a:lnTo>
                <a:lnTo>
                  <a:pt x="0" y="2807991"/>
                </a:lnTo>
                <a:lnTo>
                  <a:pt x="0" y="2787491"/>
                </a:lnTo>
                <a:lnTo>
                  <a:pt x="0" y="2766302"/>
                </a:lnTo>
                <a:lnTo>
                  <a:pt x="0" y="2741016"/>
                </a:lnTo>
                <a:lnTo>
                  <a:pt x="0" y="2728031"/>
                </a:lnTo>
                <a:lnTo>
                  <a:pt x="0" y="2722563"/>
                </a:lnTo>
                <a:lnTo>
                  <a:pt x="0" y="2522258"/>
                </a:lnTo>
                <a:cubicBezTo>
                  <a:pt x="0" y="1330151"/>
                  <a:pt x="0" y="769160"/>
                  <a:pt x="0" y="505164"/>
                </a:cubicBezTo>
                <a:lnTo>
                  <a:pt x="0" y="461963"/>
                </a:lnTo>
                <a:lnTo>
                  <a:pt x="0" y="418277"/>
                </a:lnTo>
                <a:lnTo>
                  <a:pt x="0" y="398763"/>
                </a:lnTo>
                <a:lnTo>
                  <a:pt x="0" y="356020"/>
                </a:lnTo>
                <a:lnTo>
                  <a:pt x="0" y="351269"/>
                </a:lnTo>
                <a:lnTo>
                  <a:pt x="0" y="314287"/>
                </a:lnTo>
                <a:lnTo>
                  <a:pt x="0" y="294426"/>
                </a:lnTo>
                <a:lnTo>
                  <a:pt x="0" y="288973"/>
                </a:lnTo>
                <a:cubicBezTo>
                  <a:pt x="0" y="282816"/>
                  <a:pt x="0" y="278711"/>
                  <a:pt x="0" y="275975"/>
                </a:cubicBezTo>
                <a:lnTo>
                  <a:pt x="0" y="273484"/>
                </a:lnTo>
                <a:lnTo>
                  <a:pt x="0" y="270501"/>
                </a:lnTo>
                <a:lnTo>
                  <a:pt x="0" y="270492"/>
                </a:lnTo>
                <a:cubicBezTo>
                  <a:pt x="0" y="121569"/>
                  <a:pt x="121804" y="0"/>
                  <a:pt x="267968"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494" name="Freeform 54"/>
          <p:cNvSpPr>
            <a:spLocks/>
          </p:cNvSpPr>
          <p:nvPr/>
        </p:nvSpPr>
        <p:spPr bwMode="auto">
          <a:xfrm>
            <a:off x="11425315" y="5543695"/>
            <a:ext cx="164517" cy="295626"/>
          </a:xfrm>
          <a:custGeom>
            <a:avLst/>
            <a:gdLst>
              <a:gd name="connsiteX0" fmla="*/ 930274 w 1860550"/>
              <a:gd name="connsiteY0" fmla="*/ 2997199 h 3343276"/>
              <a:gd name="connsiteX1" fmla="*/ 898524 w 1860550"/>
              <a:gd name="connsiteY1" fmla="*/ 3030537 h 3343276"/>
              <a:gd name="connsiteX2" fmla="*/ 930274 w 1860550"/>
              <a:gd name="connsiteY2" fmla="*/ 3063875 h 3343276"/>
              <a:gd name="connsiteX3" fmla="*/ 962024 w 1860550"/>
              <a:gd name="connsiteY3" fmla="*/ 3030537 h 3343276"/>
              <a:gd name="connsiteX4" fmla="*/ 930274 w 1860550"/>
              <a:gd name="connsiteY4" fmla="*/ 2997199 h 3343276"/>
              <a:gd name="connsiteX5" fmla="*/ 930275 w 1860550"/>
              <a:gd name="connsiteY5" fmla="*/ 2874962 h 3343276"/>
              <a:gd name="connsiteX6" fmla="*/ 1084263 w 1860550"/>
              <a:gd name="connsiteY6" fmla="*/ 3029744 h 3343276"/>
              <a:gd name="connsiteX7" fmla="*/ 930275 w 1860550"/>
              <a:gd name="connsiteY7" fmla="*/ 3184526 h 3343276"/>
              <a:gd name="connsiteX8" fmla="*/ 776287 w 1860550"/>
              <a:gd name="connsiteY8" fmla="*/ 3029744 h 3343276"/>
              <a:gd name="connsiteX9" fmla="*/ 930275 w 1860550"/>
              <a:gd name="connsiteY9" fmla="*/ 2874962 h 3343276"/>
              <a:gd name="connsiteX10" fmla="*/ 122238 w 1860550"/>
              <a:gd name="connsiteY10" fmla="*/ 2844800 h 3343276"/>
              <a:gd name="connsiteX11" fmla="*/ 122238 w 1860550"/>
              <a:gd name="connsiteY11" fmla="*/ 2858922 h 3343276"/>
              <a:gd name="connsiteX12" fmla="*/ 122238 w 1860550"/>
              <a:gd name="connsiteY12" fmla="*/ 2919914 h 3343276"/>
              <a:gd name="connsiteX13" fmla="*/ 122238 w 1860550"/>
              <a:gd name="connsiteY13" fmla="*/ 2937881 h 3343276"/>
              <a:gd name="connsiteX14" fmla="*/ 122238 w 1860550"/>
              <a:gd name="connsiteY14" fmla="*/ 2976361 h 3343276"/>
              <a:gd name="connsiteX15" fmla="*/ 122238 w 1860550"/>
              <a:gd name="connsiteY15" fmla="*/ 2994458 h 3343276"/>
              <a:gd name="connsiteX16" fmla="*/ 122238 w 1860550"/>
              <a:gd name="connsiteY16" fmla="*/ 3016807 h 3343276"/>
              <a:gd name="connsiteX17" fmla="*/ 122238 w 1860550"/>
              <a:gd name="connsiteY17" fmla="*/ 3032384 h 3343276"/>
              <a:gd name="connsiteX18" fmla="*/ 122238 w 1860550"/>
              <a:gd name="connsiteY18" fmla="*/ 3043919 h 3343276"/>
              <a:gd name="connsiteX19" fmla="*/ 122238 w 1860550"/>
              <a:gd name="connsiteY19" fmla="*/ 3055388 h 3343276"/>
              <a:gd name="connsiteX20" fmla="*/ 122238 w 1860550"/>
              <a:gd name="connsiteY20" fmla="*/ 3067200 h 3343276"/>
              <a:gd name="connsiteX21" fmla="*/ 122238 w 1860550"/>
              <a:gd name="connsiteY21" fmla="*/ 3068809 h 3343276"/>
              <a:gd name="connsiteX22" fmla="*/ 122238 w 1860550"/>
              <a:gd name="connsiteY22" fmla="*/ 3072174 h 3343276"/>
              <a:gd name="connsiteX23" fmla="*/ 268324 w 1860550"/>
              <a:gd name="connsiteY23" fmla="*/ 3221038 h 3343276"/>
              <a:gd name="connsiteX24" fmla="*/ 1589184 w 1860550"/>
              <a:gd name="connsiteY24" fmla="*/ 3221038 h 3343276"/>
              <a:gd name="connsiteX25" fmla="*/ 1738313 w 1860550"/>
              <a:gd name="connsiteY25" fmla="*/ 3072174 h 3343276"/>
              <a:gd name="connsiteX26" fmla="*/ 1738313 w 1860550"/>
              <a:gd name="connsiteY26" fmla="*/ 2997250 h 3343276"/>
              <a:gd name="connsiteX27" fmla="*/ 1738313 w 1860550"/>
              <a:gd name="connsiteY27" fmla="*/ 2940804 h 3343276"/>
              <a:gd name="connsiteX28" fmla="*/ 1738313 w 1860550"/>
              <a:gd name="connsiteY28" fmla="*/ 2900358 h 3343276"/>
              <a:gd name="connsiteX29" fmla="*/ 1738313 w 1860550"/>
              <a:gd name="connsiteY29" fmla="*/ 2873246 h 3343276"/>
              <a:gd name="connsiteX30" fmla="*/ 1738313 w 1860550"/>
              <a:gd name="connsiteY30" fmla="*/ 2848356 h 3343276"/>
              <a:gd name="connsiteX31" fmla="*/ 1738313 w 1860550"/>
              <a:gd name="connsiteY31" fmla="*/ 2844800 h 3343276"/>
              <a:gd name="connsiteX32" fmla="*/ 122238 w 1860550"/>
              <a:gd name="connsiteY32" fmla="*/ 461963 h 3343276"/>
              <a:gd name="connsiteX33" fmla="*/ 122238 w 1860550"/>
              <a:gd name="connsiteY33" fmla="*/ 525582 h 3343276"/>
              <a:gd name="connsiteX34" fmla="*/ 122238 w 1860550"/>
              <a:gd name="connsiteY34" fmla="*/ 2618936 h 3343276"/>
              <a:gd name="connsiteX35" fmla="*/ 122238 w 1860550"/>
              <a:gd name="connsiteY35" fmla="*/ 2722563 h 3343276"/>
              <a:gd name="connsiteX36" fmla="*/ 169032 w 1860550"/>
              <a:gd name="connsiteY36" fmla="*/ 2722563 h 3343276"/>
              <a:gd name="connsiteX37" fmla="*/ 1704747 w 1860550"/>
              <a:gd name="connsiteY37" fmla="*/ 2722563 h 3343276"/>
              <a:gd name="connsiteX38" fmla="*/ 1738313 w 1860550"/>
              <a:gd name="connsiteY38" fmla="*/ 2722563 h 3343276"/>
              <a:gd name="connsiteX39" fmla="*/ 1738313 w 1860550"/>
              <a:gd name="connsiteY39" fmla="*/ 2521894 h 3343276"/>
              <a:gd name="connsiteX40" fmla="*/ 1738313 w 1860550"/>
              <a:gd name="connsiteY40" fmla="*/ 505665 h 3343276"/>
              <a:gd name="connsiteX41" fmla="*/ 1738313 w 1860550"/>
              <a:gd name="connsiteY41" fmla="*/ 461963 h 3343276"/>
              <a:gd name="connsiteX42" fmla="*/ 1691518 w 1860550"/>
              <a:gd name="connsiteY42" fmla="*/ 461963 h 3343276"/>
              <a:gd name="connsiteX43" fmla="*/ 155803 w 1860550"/>
              <a:gd name="connsiteY43" fmla="*/ 461963 h 3343276"/>
              <a:gd name="connsiteX44" fmla="*/ 721442 w 1860550"/>
              <a:gd name="connsiteY44" fmla="*/ 169863 h 3343276"/>
              <a:gd name="connsiteX45" fmla="*/ 1072433 w 1860550"/>
              <a:gd name="connsiteY45" fmla="*/ 169863 h 3343276"/>
              <a:gd name="connsiteX46" fmla="*/ 1133475 w 1860550"/>
              <a:gd name="connsiteY46" fmla="*/ 230982 h 3343276"/>
              <a:gd name="connsiteX47" fmla="*/ 1072433 w 1860550"/>
              <a:gd name="connsiteY47" fmla="*/ 292101 h 3343276"/>
              <a:gd name="connsiteX48" fmla="*/ 721442 w 1860550"/>
              <a:gd name="connsiteY48" fmla="*/ 292101 h 3343276"/>
              <a:gd name="connsiteX49" fmla="*/ 660400 w 1860550"/>
              <a:gd name="connsiteY49" fmla="*/ 230982 h 3343276"/>
              <a:gd name="connsiteX50" fmla="*/ 721442 w 1860550"/>
              <a:gd name="connsiteY50" fmla="*/ 169863 h 3343276"/>
              <a:gd name="connsiteX51" fmla="*/ 1281907 w 1860550"/>
              <a:gd name="connsiteY51" fmla="*/ 149225 h 3343276"/>
              <a:gd name="connsiteX52" fmla="*/ 1363664 w 1860550"/>
              <a:gd name="connsiteY52" fmla="*/ 229394 h 3343276"/>
              <a:gd name="connsiteX53" fmla="*/ 1281907 w 1860550"/>
              <a:gd name="connsiteY53" fmla="*/ 309563 h 3343276"/>
              <a:gd name="connsiteX54" fmla="*/ 1200150 w 1860550"/>
              <a:gd name="connsiteY54" fmla="*/ 229394 h 3343276"/>
              <a:gd name="connsiteX55" fmla="*/ 1281907 w 1860550"/>
              <a:gd name="connsiteY55" fmla="*/ 149225 h 3343276"/>
              <a:gd name="connsiteX56" fmla="*/ 268324 w 1860550"/>
              <a:gd name="connsiteY56" fmla="*/ 122238 h 3343276"/>
              <a:gd name="connsiteX57" fmla="*/ 122238 w 1860550"/>
              <a:gd name="connsiteY57" fmla="*/ 271331 h 3343276"/>
              <a:gd name="connsiteX58" fmla="*/ 122238 w 1860550"/>
              <a:gd name="connsiteY58" fmla="*/ 341313 h 3343276"/>
              <a:gd name="connsiteX59" fmla="*/ 1738313 w 1860550"/>
              <a:gd name="connsiteY59" fmla="*/ 341313 h 3343276"/>
              <a:gd name="connsiteX60" fmla="*/ 1738313 w 1860550"/>
              <a:gd name="connsiteY60" fmla="*/ 314869 h 3343276"/>
              <a:gd name="connsiteX61" fmla="*/ 1738313 w 1860550"/>
              <a:gd name="connsiteY61" fmla="*/ 300855 h 3343276"/>
              <a:gd name="connsiteX62" fmla="*/ 1738313 w 1860550"/>
              <a:gd name="connsiteY62" fmla="*/ 289566 h 3343276"/>
              <a:gd name="connsiteX63" fmla="*/ 1738313 w 1860550"/>
              <a:gd name="connsiteY63" fmla="*/ 280079 h 3343276"/>
              <a:gd name="connsiteX64" fmla="*/ 1738313 w 1860550"/>
              <a:gd name="connsiteY64" fmla="*/ 276573 h 3343276"/>
              <a:gd name="connsiteX65" fmla="*/ 1738313 w 1860550"/>
              <a:gd name="connsiteY65" fmla="*/ 271331 h 3343276"/>
              <a:gd name="connsiteX66" fmla="*/ 1589184 w 1860550"/>
              <a:gd name="connsiteY66" fmla="*/ 122238 h 3343276"/>
              <a:gd name="connsiteX67" fmla="*/ 1469183 w 1860550"/>
              <a:gd name="connsiteY67" fmla="*/ 122238 h 3343276"/>
              <a:gd name="connsiteX68" fmla="*/ 1356679 w 1860550"/>
              <a:gd name="connsiteY68" fmla="*/ 122238 h 3343276"/>
              <a:gd name="connsiteX69" fmla="*/ 1153197 w 1860550"/>
              <a:gd name="connsiteY69" fmla="*/ 122238 h 3343276"/>
              <a:gd name="connsiteX70" fmla="*/ 976803 w 1860550"/>
              <a:gd name="connsiteY70" fmla="*/ 122238 h 3343276"/>
              <a:gd name="connsiteX71" fmla="*/ 825562 w 1860550"/>
              <a:gd name="connsiteY71" fmla="*/ 122238 h 3343276"/>
              <a:gd name="connsiteX72" fmla="*/ 697539 w 1860550"/>
              <a:gd name="connsiteY72" fmla="*/ 122238 h 3343276"/>
              <a:gd name="connsiteX73" fmla="*/ 590799 w 1860550"/>
              <a:gd name="connsiteY73" fmla="*/ 122238 h 3343276"/>
              <a:gd name="connsiteX74" fmla="*/ 503408 w 1860550"/>
              <a:gd name="connsiteY74" fmla="*/ 122238 h 3343276"/>
              <a:gd name="connsiteX75" fmla="*/ 433431 w 1860550"/>
              <a:gd name="connsiteY75" fmla="*/ 122238 h 3343276"/>
              <a:gd name="connsiteX76" fmla="*/ 378933 w 1860550"/>
              <a:gd name="connsiteY76" fmla="*/ 122238 h 3343276"/>
              <a:gd name="connsiteX77" fmla="*/ 337979 w 1860550"/>
              <a:gd name="connsiteY77" fmla="*/ 122238 h 3343276"/>
              <a:gd name="connsiteX78" fmla="*/ 308633 w 1860550"/>
              <a:gd name="connsiteY78" fmla="*/ 122238 h 3343276"/>
              <a:gd name="connsiteX79" fmla="*/ 288962 w 1860550"/>
              <a:gd name="connsiteY79" fmla="*/ 122238 h 3343276"/>
              <a:gd name="connsiteX80" fmla="*/ 277031 w 1860550"/>
              <a:gd name="connsiteY80" fmla="*/ 122238 h 3343276"/>
              <a:gd name="connsiteX81" fmla="*/ 270904 w 1860550"/>
              <a:gd name="connsiteY81" fmla="*/ 122238 h 3343276"/>
              <a:gd name="connsiteX82" fmla="*/ 267968 w 1860550"/>
              <a:gd name="connsiteY82" fmla="*/ 0 h 3343276"/>
              <a:gd name="connsiteX83" fmla="*/ 1589537 w 1860550"/>
              <a:gd name="connsiteY83" fmla="*/ 0 h 3343276"/>
              <a:gd name="connsiteX84" fmla="*/ 1860550 w 1860550"/>
              <a:gd name="connsiteY84" fmla="*/ 270492 h 3343276"/>
              <a:gd name="connsiteX85" fmla="*/ 1860550 w 1860550"/>
              <a:gd name="connsiteY85" fmla="*/ 270501 h 3343276"/>
              <a:gd name="connsiteX86" fmla="*/ 1860550 w 1860550"/>
              <a:gd name="connsiteY86" fmla="*/ 461963 h 3343276"/>
              <a:gd name="connsiteX87" fmla="*/ 1860550 w 1860550"/>
              <a:gd name="connsiteY87" fmla="*/ 525090 h 3343276"/>
              <a:gd name="connsiteX88" fmla="*/ 1860550 w 1860550"/>
              <a:gd name="connsiteY88" fmla="*/ 2619341 h 3343276"/>
              <a:gd name="connsiteX89" fmla="*/ 1860550 w 1860550"/>
              <a:gd name="connsiteY89" fmla="*/ 2722563 h 3343276"/>
              <a:gd name="connsiteX90" fmla="*/ 1860550 w 1860550"/>
              <a:gd name="connsiteY90" fmla="*/ 2754314 h 3343276"/>
              <a:gd name="connsiteX91" fmla="*/ 1860550 w 1860550"/>
              <a:gd name="connsiteY91" fmla="*/ 2838062 h 3343276"/>
              <a:gd name="connsiteX92" fmla="*/ 1860550 w 1860550"/>
              <a:gd name="connsiteY92" fmla="*/ 2859431 h 3343276"/>
              <a:gd name="connsiteX93" fmla="*/ 1860550 w 1860550"/>
              <a:gd name="connsiteY93" fmla="*/ 2924856 h 3343276"/>
              <a:gd name="connsiteX94" fmla="*/ 1860550 w 1860550"/>
              <a:gd name="connsiteY94" fmla="*/ 2938424 h 3343276"/>
              <a:gd name="connsiteX95" fmla="*/ 1860550 w 1860550"/>
              <a:gd name="connsiteY95" fmla="*/ 2987047 h 3343276"/>
              <a:gd name="connsiteX96" fmla="*/ 1860550 w 1860550"/>
              <a:gd name="connsiteY96" fmla="*/ 2995025 h 3343276"/>
              <a:gd name="connsiteX97" fmla="*/ 1860550 w 1860550"/>
              <a:gd name="connsiteY97" fmla="*/ 3028736 h 3343276"/>
              <a:gd name="connsiteX98" fmla="*/ 1860550 w 1860550"/>
              <a:gd name="connsiteY98" fmla="*/ 3032967 h 3343276"/>
              <a:gd name="connsiteX99" fmla="*/ 1860550 w 1860550"/>
              <a:gd name="connsiteY99" fmla="*/ 3054023 h 3343276"/>
              <a:gd name="connsiteX100" fmla="*/ 1860550 w 1860550"/>
              <a:gd name="connsiteY100" fmla="*/ 3055980 h 3343276"/>
              <a:gd name="connsiteX101" fmla="*/ 1860550 w 1860550"/>
              <a:gd name="connsiteY101" fmla="*/ 3067008 h 3343276"/>
              <a:gd name="connsiteX102" fmla="*/ 1860550 w 1860550"/>
              <a:gd name="connsiteY102" fmla="*/ 3067798 h 3343276"/>
              <a:gd name="connsiteX103" fmla="*/ 1860550 w 1860550"/>
              <a:gd name="connsiteY103" fmla="*/ 3072475 h 3343276"/>
              <a:gd name="connsiteX104" fmla="*/ 1860550 w 1860550"/>
              <a:gd name="connsiteY104" fmla="*/ 3072774 h 3343276"/>
              <a:gd name="connsiteX105" fmla="*/ 1694831 w 1860550"/>
              <a:gd name="connsiteY105" fmla="*/ 3321952 h 3343276"/>
              <a:gd name="connsiteX106" fmla="*/ 1593989 w 1860550"/>
              <a:gd name="connsiteY106" fmla="*/ 3342374 h 3343276"/>
              <a:gd name="connsiteX107" fmla="*/ 1589537 w 1860550"/>
              <a:gd name="connsiteY107" fmla="*/ 3343276 h 3343276"/>
              <a:gd name="connsiteX108" fmla="*/ 267968 w 1860550"/>
              <a:gd name="connsiteY108" fmla="*/ 3343276 h 3343276"/>
              <a:gd name="connsiteX109" fmla="*/ 263590 w 1860550"/>
              <a:gd name="connsiteY109" fmla="*/ 3342374 h 3343276"/>
              <a:gd name="connsiteX110" fmla="*/ 164435 w 1860550"/>
              <a:gd name="connsiteY110" fmla="*/ 3321952 h 3343276"/>
              <a:gd name="connsiteX111" fmla="*/ 0 w 1860550"/>
              <a:gd name="connsiteY111" fmla="*/ 3072774 h 3343276"/>
              <a:gd name="connsiteX112" fmla="*/ 0 w 1860550"/>
              <a:gd name="connsiteY112" fmla="*/ 3072475 h 3343276"/>
              <a:gd name="connsiteX113" fmla="*/ 0 w 1860550"/>
              <a:gd name="connsiteY113" fmla="*/ 2956977 h 3343276"/>
              <a:gd name="connsiteX114" fmla="*/ 0 w 1860550"/>
              <a:gd name="connsiteY114" fmla="*/ 2870182 h 3343276"/>
              <a:gd name="connsiteX115" fmla="*/ 0 w 1860550"/>
              <a:gd name="connsiteY115" fmla="*/ 2807991 h 3343276"/>
              <a:gd name="connsiteX116" fmla="*/ 0 w 1860550"/>
              <a:gd name="connsiteY116" fmla="*/ 2787491 h 3343276"/>
              <a:gd name="connsiteX117" fmla="*/ 0 w 1860550"/>
              <a:gd name="connsiteY117" fmla="*/ 2766302 h 3343276"/>
              <a:gd name="connsiteX118" fmla="*/ 0 w 1860550"/>
              <a:gd name="connsiteY118" fmla="*/ 2741016 h 3343276"/>
              <a:gd name="connsiteX119" fmla="*/ 0 w 1860550"/>
              <a:gd name="connsiteY119" fmla="*/ 2728031 h 3343276"/>
              <a:gd name="connsiteX120" fmla="*/ 0 w 1860550"/>
              <a:gd name="connsiteY120" fmla="*/ 2722563 h 3343276"/>
              <a:gd name="connsiteX121" fmla="*/ 0 w 1860550"/>
              <a:gd name="connsiteY121" fmla="*/ 2522258 h 3343276"/>
              <a:gd name="connsiteX122" fmla="*/ 0 w 1860550"/>
              <a:gd name="connsiteY122" fmla="*/ 505164 h 3343276"/>
              <a:gd name="connsiteX123" fmla="*/ 0 w 1860550"/>
              <a:gd name="connsiteY123" fmla="*/ 461963 h 3343276"/>
              <a:gd name="connsiteX124" fmla="*/ 0 w 1860550"/>
              <a:gd name="connsiteY124" fmla="*/ 418277 h 3343276"/>
              <a:gd name="connsiteX125" fmla="*/ 0 w 1860550"/>
              <a:gd name="connsiteY125" fmla="*/ 398763 h 3343276"/>
              <a:gd name="connsiteX126" fmla="*/ 0 w 1860550"/>
              <a:gd name="connsiteY126" fmla="*/ 356020 h 3343276"/>
              <a:gd name="connsiteX127" fmla="*/ 0 w 1860550"/>
              <a:gd name="connsiteY127" fmla="*/ 351269 h 3343276"/>
              <a:gd name="connsiteX128" fmla="*/ 0 w 1860550"/>
              <a:gd name="connsiteY128" fmla="*/ 314287 h 3343276"/>
              <a:gd name="connsiteX129" fmla="*/ 0 w 1860550"/>
              <a:gd name="connsiteY129" fmla="*/ 294426 h 3343276"/>
              <a:gd name="connsiteX130" fmla="*/ 0 w 1860550"/>
              <a:gd name="connsiteY130" fmla="*/ 288973 h 3343276"/>
              <a:gd name="connsiteX131" fmla="*/ 0 w 1860550"/>
              <a:gd name="connsiteY131" fmla="*/ 275975 h 3343276"/>
              <a:gd name="connsiteX132" fmla="*/ 0 w 1860550"/>
              <a:gd name="connsiteY132" fmla="*/ 273484 h 3343276"/>
              <a:gd name="connsiteX133" fmla="*/ 0 w 1860550"/>
              <a:gd name="connsiteY133" fmla="*/ 270501 h 3343276"/>
              <a:gd name="connsiteX134" fmla="*/ 0 w 1860550"/>
              <a:gd name="connsiteY134" fmla="*/ 270492 h 3343276"/>
              <a:gd name="connsiteX135" fmla="*/ 267968 w 1860550"/>
              <a:gd name="connsiteY135" fmla="*/ 0 h 33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860550" h="3343276">
                <a:moveTo>
                  <a:pt x="930274" y="2997199"/>
                </a:moveTo>
                <a:cubicBezTo>
                  <a:pt x="912739" y="2997199"/>
                  <a:pt x="898524" y="3012125"/>
                  <a:pt x="898524" y="3030537"/>
                </a:cubicBezTo>
                <a:cubicBezTo>
                  <a:pt x="898524" y="3048949"/>
                  <a:pt x="912739" y="3063875"/>
                  <a:pt x="930274" y="3063875"/>
                </a:cubicBezTo>
                <a:cubicBezTo>
                  <a:pt x="947809" y="3063875"/>
                  <a:pt x="962024" y="3048949"/>
                  <a:pt x="962024" y="3030537"/>
                </a:cubicBezTo>
                <a:cubicBezTo>
                  <a:pt x="962024" y="3012125"/>
                  <a:pt x="947809" y="2997199"/>
                  <a:pt x="930274" y="2997199"/>
                </a:cubicBezTo>
                <a:close/>
                <a:moveTo>
                  <a:pt x="930275" y="2874962"/>
                </a:moveTo>
                <a:cubicBezTo>
                  <a:pt x="1015320" y="2874962"/>
                  <a:pt x="1084263" y="2944260"/>
                  <a:pt x="1084263" y="3029744"/>
                </a:cubicBezTo>
                <a:cubicBezTo>
                  <a:pt x="1084263" y="3115228"/>
                  <a:pt x="1015320" y="3184526"/>
                  <a:pt x="930275" y="3184526"/>
                </a:cubicBezTo>
                <a:cubicBezTo>
                  <a:pt x="845230" y="3184526"/>
                  <a:pt x="776287" y="3115228"/>
                  <a:pt x="776287" y="3029744"/>
                </a:cubicBezTo>
                <a:cubicBezTo>
                  <a:pt x="776287" y="2944260"/>
                  <a:pt x="845230" y="2874962"/>
                  <a:pt x="930275" y="2874962"/>
                </a:cubicBezTo>
                <a:close/>
                <a:moveTo>
                  <a:pt x="122238" y="2844800"/>
                </a:moveTo>
                <a:lnTo>
                  <a:pt x="122238" y="2858922"/>
                </a:lnTo>
                <a:lnTo>
                  <a:pt x="122238" y="2919914"/>
                </a:lnTo>
                <a:lnTo>
                  <a:pt x="122238" y="2937881"/>
                </a:lnTo>
                <a:lnTo>
                  <a:pt x="122238" y="2976361"/>
                </a:lnTo>
                <a:lnTo>
                  <a:pt x="122238" y="2994458"/>
                </a:lnTo>
                <a:lnTo>
                  <a:pt x="122238" y="3016807"/>
                </a:lnTo>
                <a:lnTo>
                  <a:pt x="122238" y="3032384"/>
                </a:lnTo>
                <a:lnTo>
                  <a:pt x="122238" y="3043919"/>
                </a:lnTo>
                <a:lnTo>
                  <a:pt x="122238" y="3055388"/>
                </a:lnTo>
                <a:cubicBezTo>
                  <a:pt x="122238" y="3060983"/>
                  <a:pt x="122238" y="3064714"/>
                  <a:pt x="122238" y="3067200"/>
                </a:cubicBezTo>
                <a:lnTo>
                  <a:pt x="122238" y="3068809"/>
                </a:lnTo>
                <a:lnTo>
                  <a:pt x="122238" y="3072174"/>
                </a:lnTo>
                <a:cubicBezTo>
                  <a:pt x="122238" y="3154201"/>
                  <a:pt x="189194" y="3221038"/>
                  <a:pt x="268324" y="3221038"/>
                </a:cubicBezTo>
                <a:cubicBezTo>
                  <a:pt x="1589184" y="3221038"/>
                  <a:pt x="1589184" y="3221038"/>
                  <a:pt x="1589184" y="3221038"/>
                </a:cubicBezTo>
                <a:cubicBezTo>
                  <a:pt x="1671357" y="3221038"/>
                  <a:pt x="1738313" y="3154201"/>
                  <a:pt x="1738313" y="3072174"/>
                </a:cubicBezTo>
                <a:lnTo>
                  <a:pt x="1738313" y="2997250"/>
                </a:lnTo>
                <a:lnTo>
                  <a:pt x="1738313" y="2940804"/>
                </a:lnTo>
                <a:lnTo>
                  <a:pt x="1738313" y="2900358"/>
                </a:lnTo>
                <a:lnTo>
                  <a:pt x="1738313" y="2873246"/>
                </a:lnTo>
                <a:lnTo>
                  <a:pt x="1738313" y="2848356"/>
                </a:lnTo>
                <a:lnTo>
                  <a:pt x="1738313" y="2844800"/>
                </a:lnTo>
                <a:close/>
                <a:moveTo>
                  <a:pt x="122238" y="461963"/>
                </a:moveTo>
                <a:lnTo>
                  <a:pt x="122238" y="525582"/>
                </a:lnTo>
                <a:cubicBezTo>
                  <a:pt x="122238" y="1639716"/>
                  <a:pt x="122238" y="2266416"/>
                  <a:pt x="122238" y="2618936"/>
                </a:cubicBezTo>
                <a:lnTo>
                  <a:pt x="122238" y="2722563"/>
                </a:lnTo>
                <a:lnTo>
                  <a:pt x="169032" y="2722563"/>
                </a:lnTo>
                <a:cubicBezTo>
                  <a:pt x="1096639" y="2722563"/>
                  <a:pt x="1515558" y="2722563"/>
                  <a:pt x="1704747" y="2722563"/>
                </a:cubicBezTo>
                <a:lnTo>
                  <a:pt x="1738313" y="2722563"/>
                </a:lnTo>
                <a:lnTo>
                  <a:pt x="1738313" y="2521894"/>
                </a:lnTo>
                <a:cubicBezTo>
                  <a:pt x="1738313" y="1330298"/>
                  <a:pt x="1738313" y="769547"/>
                  <a:pt x="1738313" y="505665"/>
                </a:cubicBezTo>
                <a:lnTo>
                  <a:pt x="1738313" y="461963"/>
                </a:lnTo>
                <a:lnTo>
                  <a:pt x="1691518" y="461963"/>
                </a:lnTo>
                <a:cubicBezTo>
                  <a:pt x="763911" y="461963"/>
                  <a:pt x="344992" y="461963"/>
                  <a:pt x="155803" y="461963"/>
                </a:cubicBezTo>
                <a:close/>
                <a:moveTo>
                  <a:pt x="721442" y="169863"/>
                </a:moveTo>
                <a:cubicBezTo>
                  <a:pt x="1072433" y="169863"/>
                  <a:pt x="1072433" y="169863"/>
                  <a:pt x="1072433" y="169863"/>
                </a:cubicBezTo>
                <a:cubicBezTo>
                  <a:pt x="1106006" y="169863"/>
                  <a:pt x="1133475" y="197367"/>
                  <a:pt x="1133475" y="230982"/>
                </a:cubicBezTo>
                <a:cubicBezTo>
                  <a:pt x="1133475" y="264598"/>
                  <a:pt x="1106006" y="292101"/>
                  <a:pt x="1072433" y="292101"/>
                </a:cubicBezTo>
                <a:cubicBezTo>
                  <a:pt x="721442" y="292101"/>
                  <a:pt x="721442" y="292101"/>
                  <a:pt x="721442" y="292101"/>
                </a:cubicBezTo>
                <a:cubicBezTo>
                  <a:pt x="687869" y="292101"/>
                  <a:pt x="660400" y="264598"/>
                  <a:pt x="660400" y="230982"/>
                </a:cubicBezTo>
                <a:cubicBezTo>
                  <a:pt x="660400" y="197367"/>
                  <a:pt x="687869" y="169863"/>
                  <a:pt x="721442" y="169863"/>
                </a:cubicBezTo>
                <a:close/>
                <a:moveTo>
                  <a:pt x="1281907" y="149225"/>
                </a:moveTo>
                <a:cubicBezTo>
                  <a:pt x="1327060" y="149225"/>
                  <a:pt x="1363664" y="185118"/>
                  <a:pt x="1363664" y="229394"/>
                </a:cubicBezTo>
                <a:cubicBezTo>
                  <a:pt x="1363664" y="273670"/>
                  <a:pt x="1327060" y="309563"/>
                  <a:pt x="1281907" y="309563"/>
                </a:cubicBezTo>
                <a:cubicBezTo>
                  <a:pt x="1236754" y="309563"/>
                  <a:pt x="1200150" y="273670"/>
                  <a:pt x="1200150" y="229394"/>
                </a:cubicBezTo>
                <a:cubicBezTo>
                  <a:pt x="1200150" y="185118"/>
                  <a:pt x="1236754" y="149225"/>
                  <a:pt x="1281907" y="149225"/>
                </a:cubicBezTo>
                <a:close/>
                <a:moveTo>
                  <a:pt x="268324" y="122238"/>
                </a:moveTo>
                <a:cubicBezTo>
                  <a:pt x="189194" y="122238"/>
                  <a:pt x="122238" y="189178"/>
                  <a:pt x="122238" y="271331"/>
                </a:cubicBezTo>
                <a:lnTo>
                  <a:pt x="122238" y="341313"/>
                </a:lnTo>
                <a:cubicBezTo>
                  <a:pt x="1738313" y="341313"/>
                  <a:pt x="1738313" y="341313"/>
                  <a:pt x="1738313" y="341313"/>
                </a:cubicBezTo>
                <a:lnTo>
                  <a:pt x="1738313" y="314869"/>
                </a:lnTo>
                <a:lnTo>
                  <a:pt x="1738313" y="300855"/>
                </a:lnTo>
                <a:lnTo>
                  <a:pt x="1738313" y="289566"/>
                </a:lnTo>
                <a:lnTo>
                  <a:pt x="1738313" y="280079"/>
                </a:lnTo>
                <a:lnTo>
                  <a:pt x="1738313" y="276573"/>
                </a:lnTo>
                <a:lnTo>
                  <a:pt x="1738313" y="271331"/>
                </a:lnTo>
                <a:cubicBezTo>
                  <a:pt x="1738313" y="189178"/>
                  <a:pt x="1671357" y="122238"/>
                  <a:pt x="1589184" y="122238"/>
                </a:cubicBezTo>
                <a:lnTo>
                  <a:pt x="1469183" y="122238"/>
                </a:lnTo>
                <a:lnTo>
                  <a:pt x="1356679" y="122238"/>
                </a:lnTo>
                <a:lnTo>
                  <a:pt x="1153197" y="122238"/>
                </a:lnTo>
                <a:lnTo>
                  <a:pt x="976803" y="122238"/>
                </a:lnTo>
                <a:lnTo>
                  <a:pt x="825562" y="122238"/>
                </a:lnTo>
                <a:lnTo>
                  <a:pt x="697539" y="122238"/>
                </a:lnTo>
                <a:lnTo>
                  <a:pt x="590799" y="122238"/>
                </a:lnTo>
                <a:lnTo>
                  <a:pt x="503408" y="122238"/>
                </a:lnTo>
                <a:lnTo>
                  <a:pt x="433431" y="122238"/>
                </a:lnTo>
                <a:lnTo>
                  <a:pt x="378933" y="122238"/>
                </a:lnTo>
                <a:lnTo>
                  <a:pt x="337979" y="122238"/>
                </a:lnTo>
                <a:lnTo>
                  <a:pt x="308633" y="122238"/>
                </a:lnTo>
                <a:lnTo>
                  <a:pt x="288962" y="122238"/>
                </a:lnTo>
                <a:lnTo>
                  <a:pt x="277031" y="122238"/>
                </a:lnTo>
                <a:lnTo>
                  <a:pt x="270904" y="122238"/>
                </a:lnTo>
                <a:close/>
                <a:moveTo>
                  <a:pt x="267968" y="0"/>
                </a:moveTo>
                <a:cubicBezTo>
                  <a:pt x="1589537" y="0"/>
                  <a:pt x="1589537" y="0"/>
                  <a:pt x="1589537" y="0"/>
                </a:cubicBezTo>
                <a:cubicBezTo>
                  <a:pt x="1738747" y="0"/>
                  <a:pt x="1860550" y="121569"/>
                  <a:pt x="1860550" y="270492"/>
                </a:cubicBezTo>
                <a:lnTo>
                  <a:pt x="1860550" y="270501"/>
                </a:lnTo>
                <a:lnTo>
                  <a:pt x="1860550" y="461963"/>
                </a:lnTo>
                <a:lnTo>
                  <a:pt x="1860550" y="525090"/>
                </a:lnTo>
                <a:cubicBezTo>
                  <a:pt x="1860550" y="1639702"/>
                  <a:pt x="1860550" y="2266671"/>
                  <a:pt x="1860550" y="2619341"/>
                </a:cubicBezTo>
                <a:lnTo>
                  <a:pt x="1860550" y="2722563"/>
                </a:lnTo>
                <a:lnTo>
                  <a:pt x="1860550" y="2754314"/>
                </a:lnTo>
                <a:lnTo>
                  <a:pt x="1860550" y="2838062"/>
                </a:lnTo>
                <a:lnTo>
                  <a:pt x="1860550" y="2859431"/>
                </a:lnTo>
                <a:lnTo>
                  <a:pt x="1860550" y="2924856"/>
                </a:lnTo>
                <a:lnTo>
                  <a:pt x="1860550" y="2938424"/>
                </a:lnTo>
                <a:lnTo>
                  <a:pt x="1860550" y="2987047"/>
                </a:lnTo>
                <a:lnTo>
                  <a:pt x="1860550" y="2995025"/>
                </a:lnTo>
                <a:lnTo>
                  <a:pt x="1860550" y="3028736"/>
                </a:lnTo>
                <a:lnTo>
                  <a:pt x="1860550" y="3032967"/>
                </a:lnTo>
                <a:lnTo>
                  <a:pt x="1860550" y="3054023"/>
                </a:lnTo>
                <a:lnTo>
                  <a:pt x="1860550" y="3055980"/>
                </a:lnTo>
                <a:lnTo>
                  <a:pt x="1860550" y="3067008"/>
                </a:lnTo>
                <a:lnTo>
                  <a:pt x="1860550" y="3067798"/>
                </a:lnTo>
                <a:lnTo>
                  <a:pt x="1860550" y="3072475"/>
                </a:lnTo>
                <a:lnTo>
                  <a:pt x="1860550" y="3072774"/>
                </a:lnTo>
                <a:cubicBezTo>
                  <a:pt x="1860550" y="3184470"/>
                  <a:pt x="1792036" y="3280779"/>
                  <a:pt x="1694831" y="3321952"/>
                </a:cubicBezTo>
                <a:lnTo>
                  <a:pt x="1593989" y="3342374"/>
                </a:lnTo>
                <a:lnTo>
                  <a:pt x="1589537" y="3343276"/>
                </a:lnTo>
                <a:cubicBezTo>
                  <a:pt x="267968" y="3343276"/>
                  <a:pt x="267968" y="3343276"/>
                  <a:pt x="267968" y="3343276"/>
                </a:cubicBezTo>
                <a:lnTo>
                  <a:pt x="263590" y="3342374"/>
                </a:lnTo>
                <a:lnTo>
                  <a:pt x="164435" y="3321952"/>
                </a:lnTo>
                <a:cubicBezTo>
                  <a:pt x="68515" y="3280779"/>
                  <a:pt x="0" y="3184470"/>
                  <a:pt x="0" y="3072774"/>
                </a:cubicBezTo>
                <a:lnTo>
                  <a:pt x="0" y="3072475"/>
                </a:lnTo>
                <a:lnTo>
                  <a:pt x="0" y="2956977"/>
                </a:lnTo>
                <a:lnTo>
                  <a:pt x="0" y="2870182"/>
                </a:lnTo>
                <a:lnTo>
                  <a:pt x="0" y="2807991"/>
                </a:lnTo>
                <a:lnTo>
                  <a:pt x="0" y="2787491"/>
                </a:lnTo>
                <a:lnTo>
                  <a:pt x="0" y="2766302"/>
                </a:lnTo>
                <a:lnTo>
                  <a:pt x="0" y="2741016"/>
                </a:lnTo>
                <a:lnTo>
                  <a:pt x="0" y="2728031"/>
                </a:lnTo>
                <a:lnTo>
                  <a:pt x="0" y="2722563"/>
                </a:lnTo>
                <a:lnTo>
                  <a:pt x="0" y="2522258"/>
                </a:lnTo>
                <a:cubicBezTo>
                  <a:pt x="0" y="1330151"/>
                  <a:pt x="0" y="769160"/>
                  <a:pt x="0" y="505164"/>
                </a:cubicBezTo>
                <a:lnTo>
                  <a:pt x="0" y="461963"/>
                </a:lnTo>
                <a:lnTo>
                  <a:pt x="0" y="418277"/>
                </a:lnTo>
                <a:lnTo>
                  <a:pt x="0" y="398763"/>
                </a:lnTo>
                <a:lnTo>
                  <a:pt x="0" y="356020"/>
                </a:lnTo>
                <a:lnTo>
                  <a:pt x="0" y="351269"/>
                </a:lnTo>
                <a:lnTo>
                  <a:pt x="0" y="314287"/>
                </a:lnTo>
                <a:lnTo>
                  <a:pt x="0" y="294426"/>
                </a:lnTo>
                <a:lnTo>
                  <a:pt x="0" y="288973"/>
                </a:lnTo>
                <a:cubicBezTo>
                  <a:pt x="0" y="282816"/>
                  <a:pt x="0" y="278711"/>
                  <a:pt x="0" y="275975"/>
                </a:cubicBezTo>
                <a:lnTo>
                  <a:pt x="0" y="273484"/>
                </a:lnTo>
                <a:lnTo>
                  <a:pt x="0" y="270501"/>
                </a:lnTo>
                <a:lnTo>
                  <a:pt x="0" y="270492"/>
                </a:lnTo>
                <a:cubicBezTo>
                  <a:pt x="0" y="121569"/>
                  <a:pt x="121804" y="0"/>
                  <a:pt x="267968"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495" name="Freeform 54"/>
          <p:cNvSpPr>
            <a:spLocks/>
          </p:cNvSpPr>
          <p:nvPr/>
        </p:nvSpPr>
        <p:spPr bwMode="auto">
          <a:xfrm>
            <a:off x="7673597" y="5543695"/>
            <a:ext cx="164517" cy="295626"/>
          </a:xfrm>
          <a:custGeom>
            <a:avLst/>
            <a:gdLst>
              <a:gd name="connsiteX0" fmla="*/ 930274 w 1860550"/>
              <a:gd name="connsiteY0" fmla="*/ 2997199 h 3343276"/>
              <a:gd name="connsiteX1" fmla="*/ 898524 w 1860550"/>
              <a:gd name="connsiteY1" fmla="*/ 3030537 h 3343276"/>
              <a:gd name="connsiteX2" fmla="*/ 930274 w 1860550"/>
              <a:gd name="connsiteY2" fmla="*/ 3063875 h 3343276"/>
              <a:gd name="connsiteX3" fmla="*/ 962024 w 1860550"/>
              <a:gd name="connsiteY3" fmla="*/ 3030537 h 3343276"/>
              <a:gd name="connsiteX4" fmla="*/ 930274 w 1860550"/>
              <a:gd name="connsiteY4" fmla="*/ 2997199 h 3343276"/>
              <a:gd name="connsiteX5" fmla="*/ 930275 w 1860550"/>
              <a:gd name="connsiteY5" fmla="*/ 2874962 h 3343276"/>
              <a:gd name="connsiteX6" fmla="*/ 1084263 w 1860550"/>
              <a:gd name="connsiteY6" fmla="*/ 3029744 h 3343276"/>
              <a:gd name="connsiteX7" fmla="*/ 930275 w 1860550"/>
              <a:gd name="connsiteY7" fmla="*/ 3184526 h 3343276"/>
              <a:gd name="connsiteX8" fmla="*/ 776287 w 1860550"/>
              <a:gd name="connsiteY8" fmla="*/ 3029744 h 3343276"/>
              <a:gd name="connsiteX9" fmla="*/ 930275 w 1860550"/>
              <a:gd name="connsiteY9" fmla="*/ 2874962 h 3343276"/>
              <a:gd name="connsiteX10" fmla="*/ 122238 w 1860550"/>
              <a:gd name="connsiteY10" fmla="*/ 2844800 h 3343276"/>
              <a:gd name="connsiteX11" fmla="*/ 122238 w 1860550"/>
              <a:gd name="connsiteY11" fmla="*/ 2858922 h 3343276"/>
              <a:gd name="connsiteX12" fmla="*/ 122238 w 1860550"/>
              <a:gd name="connsiteY12" fmla="*/ 2919914 h 3343276"/>
              <a:gd name="connsiteX13" fmla="*/ 122238 w 1860550"/>
              <a:gd name="connsiteY13" fmla="*/ 2937881 h 3343276"/>
              <a:gd name="connsiteX14" fmla="*/ 122238 w 1860550"/>
              <a:gd name="connsiteY14" fmla="*/ 2976361 h 3343276"/>
              <a:gd name="connsiteX15" fmla="*/ 122238 w 1860550"/>
              <a:gd name="connsiteY15" fmla="*/ 2994458 h 3343276"/>
              <a:gd name="connsiteX16" fmla="*/ 122238 w 1860550"/>
              <a:gd name="connsiteY16" fmla="*/ 3016807 h 3343276"/>
              <a:gd name="connsiteX17" fmla="*/ 122238 w 1860550"/>
              <a:gd name="connsiteY17" fmla="*/ 3032384 h 3343276"/>
              <a:gd name="connsiteX18" fmla="*/ 122238 w 1860550"/>
              <a:gd name="connsiteY18" fmla="*/ 3043919 h 3343276"/>
              <a:gd name="connsiteX19" fmla="*/ 122238 w 1860550"/>
              <a:gd name="connsiteY19" fmla="*/ 3055388 h 3343276"/>
              <a:gd name="connsiteX20" fmla="*/ 122238 w 1860550"/>
              <a:gd name="connsiteY20" fmla="*/ 3067200 h 3343276"/>
              <a:gd name="connsiteX21" fmla="*/ 122238 w 1860550"/>
              <a:gd name="connsiteY21" fmla="*/ 3068809 h 3343276"/>
              <a:gd name="connsiteX22" fmla="*/ 122238 w 1860550"/>
              <a:gd name="connsiteY22" fmla="*/ 3072174 h 3343276"/>
              <a:gd name="connsiteX23" fmla="*/ 268324 w 1860550"/>
              <a:gd name="connsiteY23" fmla="*/ 3221038 h 3343276"/>
              <a:gd name="connsiteX24" fmla="*/ 1589184 w 1860550"/>
              <a:gd name="connsiteY24" fmla="*/ 3221038 h 3343276"/>
              <a:gd name="connsiteX25" fmla="*/ 1738313 w 1860550"/>
              <a:gd name="connsiteY25" fmla="*/ 3072174 h 3343276"/>
              <a:gd name="connsiteX26" fmla="*/ 1738313 w 1860550"/>
              <a:gd name="connsiteY26" fmla="*/ 2997250 h 3343276"/>
              <a:gd name="connsiteX27" fmla="*/ 1738313 w 1860550"/>
              <a:gd name="connsiteY27" fmla="*/ 2940804 h 3343276"/>
              <a:gd name="connsiteX28" fmla="*/ 1738313 w 1860550"/>
              <a:gd name="connsiteY28" fmla="*/ 2900358 h 3343276"/>
              <a:gd name="connsiteX29" fmla="*/ 1738313 w 1860550"/>
              <a:gd name="connsiteY29" fmla="*/ 2873246 h 3343276"/>
              <a:gd name="connsiteX30" fmla="*/ 1738313 w 1860550"/>
              <a:gd name="connsiteY30" fmla="*/ 2848356 h 3343276"/>
              <a:gd name="connsiteX31" fmla="*/ 1738313 w 1860550"/>
              <a:gd name="connsiteY31" fmla="*/ 2844800 h 3343276"/>
              <a:gd name="connsiteX32" fmla="*/ 122238 w 1860550"/>
              <a:gd name="connsiteY32" fmla="*/ 461963 h 3343276"/>
              <a:gd name="connsiteX33" fmla="*/ 122238 w 1860550"/>
              <a:gd name="connsiteY33" fmla="*/ 525582 h 3343276"/>
              <a:gd name="connsiteX34" fmla="*/ 122238 w 1860550"/>
              <a:gd name="connsiteY34" fmla="*/ 2618936 h 3343276"/>
              <a:gd name="connsiteX35" fmla="*/ 122238 w 1860550"/>
              <a:gd name="connsiteY35" fmla="*/ 2722563 h 3343276"/>
              <a:gd name="connsiteX36" fmla="*/ 169032 w 1860550"/>
              <a:gd name="connsiteY36" fmla="*/ 2722563 h 3343276"/>
              <a:gd name="connsiteX37" fmla="*/ 1704747 w 1860550"/>
              <a:gd name="connsiteY37" fmla="*/ 2722563 h 3343276"/>
              <a:gd name="connsiteX38" fmla="*/ 1738313 w 1860550"/>
              <a:gd name="connsiteY38" fmla="*/ 2722563 h 3343276"/>
              <a:gd name="connsiteX39" fmla="*/ 1738313 w 1860550"/>
              <a:gd name="connsiteY39" fmla="*/ 2521894 h 3343276"/>
              <a:gd name="connsiteX40" fmla="*/ 1738313 w 1860550"/>
              <a:gd name="connsiteY40" fmla="*/ 505665 h 3343276"/>
              <a:gd name="connsiteX41" fmla="*/ 1738313 w 1860550"/>
              <a:gd name="connsiteY41" fmla="*/ 461963 h 3343276"/>
              <a:gd name="connsiteX42" fmla="*/ 1691518 w 1860550"/>
              <a:gd name="connsiteY42" fmla="*/ 461963 h 3343276"/>
              <a:gd name="connsiteX43" fmla="*/ 155803 w 1860550"/>
              <a:gd name="connsiteY43" fmla="*/ 461963 h 3343276"/>
              <a:gd name="connsiteX44" fmla="*/ 721442 w 1860550"/>
              <a:gd name="connsiteY44" fmla="*/ 169863 h 3343276"/>
              <a:gd name="connsiteX45" fmla="*/ 1072433 w 1860550"/>
              <a:gd name="connsiteY45" fmla="*/ 169863 h 3343276"/>
              <a:gd name="connsiteX46" fmla="*/ 1133475 w 1860550"/>
              <a:gd name="connsiteY46" fmla="*/ 230982 h 3343276"/>
              <a:gd name="connsiteX47" fmla="*/ 1072433 w 1860550"/>
              <a:gd name="connsiteY47" fmla="*/ 292101 h 3343276"/>
              <a:gd name="connsiteX48" fmla="*/ 721442 w 1860550"/>
              <a:gd name="connsiteY48" fmla="*/ 292101 h 3343276"/>
              <a:gd name="connsiteX49" fmla="*/ 660400 w 1860550"/>
              <a:gd name="connsiteY49" fmla="*/ 230982 h 3343276"/>
              <a:gd name="connsiteX50" fmla="*/ 721442 w 1860550"/>
              <a:gd name="connsiteY50" fmla="*/ 169863 h 3343276"/>
              <a:gd name="connsiteX51" fmla="*/ 1281907 w 1860550"/>
              <a:gd name="connsiteY51" fmla="*/ 149225 h 3343276"/>
              <a:gd name="connsiteX52" fmla="*/ 1363664 w 1860550"/>
              <a:gd name="connsiteY52" fmla="*/ 229394 h 3343276"/>
              <a:gd name="connsiteX53" fmla="*/ 1281907 w 1860550"/>
              <a:gd name="connsiteY53" fmla="*/ 309563 h 3343276"/>
              <a:gd name="connsiteX54" fmla="*/ 1200150 w 1860550"/>
              <a:gd name="connsiteY54" fmla="*/ 229394 h 3343276"/>
              <a:gd name="connsiteX55" fmla="*/ 1281907 w 1860550"/>
              <a:gd name="connsiteY55" fmla="*/ 149225 h 3343276"/>
              <a:gd name="connsiteX56" fmla="*/ 268324 w 1860550"/>
              <a:gd name="connsiteY56" fmla="*/ 122238 h 3343276"/>
              <a:gd name="connsiteX57" fmla="*/ 122238 w 1860550"/>
              <a:gd name="connsiteY57" fmla="*/ 271331 h 3343276"/>
              <a:gd name="connsiteX58" fmla="*/ 122238 w 1860550"/>
              <a:gd name="connsiteY58" fmla="*/ 341313 h 3343276"/>
              <a:gd name="connsiteX59" fmla="*/ 1738313 w 1860550"/>
              <a:gd name="connsiteY59" fmla="*/ 341313 h 3343276"/>
              <a:gd name="connsiteX60" fmla="*/ 1738313 w 1860550"/>
              <a:gd name="connsiteY60" fmla="*/ 314869 h 3343276"/>
              <a:gd name="connsiteX61" fmla="*/ 1738313 w 1860550"/>
              <a:gd name="connsiteY61" fmla="*/ 300855 h 3343276"/>
              <a:gd name="connsiteX62" fmla="*/ 1738313 w 1860550"/>
              <a:gd name="connsiteY62" fmla="*/ 289566 h 3343276"/>
              <a:gd name="connsiteX63" fmla="*/ 1738313 w 1860550"/>
              <a:gd name="connsiteY63" fmla="*/ 280079 h 3343276"/>
              <a:gd name="connsiteX64" fmla="*/ 1738313 w 1860550"/>
              <a:gd name="connsiteY64" fmla="*/ 276573 h 3343276"/>
              <a:gd name="connsiteX65" fmla="*/ 1738313 w 1860550"/>
              <a:gd name="connsiteY65" fmla="*/ 271331 h 3343276"/>
              <a:gd name="connsiteX66" fmla="*/ 1589184 w 1860550"/>
              <a:gd name="connsiteY66" fmla="*/ 122238 h 3343276"/>
              <a:gd name="connsiteX67" fmla="*/ 1469183 w 1860550"/>
              <a:gd name="connsiteY67" fmla="*/ 122238 h 3343276"/>
              <a:gd name="connsiteX68" fmla="*/ 1356679 w 1860550"/>
              <a:gd name="connsiteY68" fmla="*/ 122238 h 3343276"/>
              <a:gd name="connsiteX69" fmla="*/ 1153197 w 1860550"/>
              <a:gd name="connsiteY69" fmla="*/ 122238 h 3343276"/>
              <a:gd name="connsiteX70" fmla="*/ 976803 w 1860550"/>
              <a:gd name="connsiteY70" fmla="*/ 122238 h 3343276"/>
              <a:gd name="connsiteX71" fmla="*/ 825562 w 1860550"/>
              <a:gd name="connsiteY71" fmla="*/ 122238 h 3343276"/>
              <a:gd name="connsiteX72" fmla="*/ 697539 w 1860550"/>
              <a:gd name="connsiteY72" fmla="*/ 122238 h 3343276"/>
              <a:gd name="connsiteX73" fmla="*/ 590799 w 1860550"/>
              <a:gd name="connsiteY73" fmla="*/ 122238 h 3343276"/>
              <a:gd name="connsiteX74" fmla="*/ 503408 w 1860550"/>
              <a:gd name="connsiteY74" fmla="*/ 122238 h 3343276"/>
              <a:gd name="connsiteX75" fmla="*/ 433431 w 1860550"/>
              <a:gd name="connsiteY75" fmla="*/ 122238 h 3343276"/>
              <a:gd name="connsiteX76" fmla="*/ 378933 w 1860550"/>
              <a:gd name="connsiteY76" fmla="*/ 122238 h 3343276"/>
              <a:gd name="connsiteX77" fmla="*/ 337979 w 1860550"/>
              <a:gd name="connsiteY77" fmla="*/ 122238 h 3343276"/>
              <a:gd name="connsiteX78" fmla="*/ 308633 w 1860550"/>
              <a:gd name="connsiteY78" fmla="*/ 122238 h 3343276"/>
              <a:gd name="connsiteX79" fmla="*/ 288962 w 1860550"/>
              <a:gd name="connsiteY79" fmla="*/ 122238 h 3343276"/>
              <a:gd name="connsiteX80" fmla="*/ 277031 w 1860550"/>
              <a:gd name="connsiteY80" fmla="*/ 122238 h 3343276"/>
              <a:gd name="connsiteX81" fmla="*/ 270904 w 1860550"/>
              <a:gd name="connsiteY81" fmla="*/ 122238 h 3343276"/>
              <a:gd name="connsiteX82" fmla="*/ 267968 w 1860550"/>
              <a:gd name="connsiteY82" fmla="*/ 0 h 3343276"/>
              <a:gd name="connsiteX83" fmla="*/ 1589537 w 1860550"/>
              <a:gd name="connsiteY83" fmla="*/ 0 h 3343276"/>
              <a:gd name="connsiteX84" fmla="*/ 1860550 w 1860550"/>
              <a:gd name="connsiteY84" fmla="*/ 270492 h 3343276"/>
              <a:gd name="connsiteX85" fmla="*/ 1860550 w 1860550"/>
              <a:gd name="connsiteY85" fmla="*/ 270501 h 3343276"/>
              <a:gd name="connsiteX86" fmla="*/ 1860550 w 1860550"/>
              <a:gd name="connsiteY86" fmla="*/ 461963 h 3343276"/>
              <a:gd name="connsiteX87" fmla="*/ 1860550 w 1860550"/>
              <a:gd name="connsiteY87" fmla="*/ 525090 h 3343276"/>
              <a:gd name="connsiteX88" fmla="*/ 1860550 w 1860550"/>
              <a:gd name="connsiteY88" fmla="*/ 2619341 h 3343276"/>
              <a:gd name="connsiteX89" fmla="*/ 1860550 w 1860550"/>
              <a:gd name="connsiteY89" fmla="*/ 2722563 h 3343276"/>
              <a:gd name="connsiteX90" fmla="*/ 1860550 w 1860550"/>
              <a:gd name="connsiteY90" fmla="*/ 2754314 h 3343276"/>
              <a:gd name="connsiteX91" fmla="*/ 1860550 w 1860550"/>
              <a:gd name="connsiteY91" fmla="*/ 2838062 h 3343276"/>
              <a:gd name="connsiteX92" fmla="*/ 1860550 w 1860550"/>
              <a:gd name="connsiteY92" fmla="*/ 2859431 h 3343276"/>
              <a:gd name="connsiteX93" fmla="*/ 1860550 w 1860550"/>
              <a:gd name="connsiteY93" fmla="*/ 2924856 h 3343276"/>
              <a:gd name="connsiteX94" fmla="*/ 1860550 w 1860550"/>
              <a:gd name="connsiteY94" fmla="*/ 2938424 h 3343276"/>
              <a:gd name="connsiteX95" fmla="*/ 1860550 w 1860550"/>
              <a:gd name="connsiteY95" fmla="*/ 2987047 h 3343276"/>
              <a:gd name="connsiteX96" fmla="*/ 1860550 w 1860550"/>
              <a:gd name="connsiteY96" fmla="*/ 2995025 h 3343276"/>
              <a:gd name="connsiteX97" fmla="*/ 1860550 w 1860550"/>
              <a:gd name="connsiteY97" fmla="*/ 3028736 h 3343276"/>
              <a:gd name="connsiteX98" fmla="*/ 1860550 w 1860550"/>
              <a:gd name="connsiteY98" fmla="*/ 3032967 h 3343276"/>
              <a:gd name="connsiteX99" fmla="*/ 1860550 w 1860550"/>
              <a:gd name="connsiteY99" fmla="*/ 3054023 h 3343276"/>
              <a:gd name="connsiteX100" fmla="*/ 1860550 w 1860550"/>
              <a:gd name="connsiteY100" fmla="*/ 3055980 h 3343276"/>
              <a:gd name="connsiteX101" fmla="*/ 1860550 w 1860550"/>
              <a:gd name="connsiteY101" fmla="*/ 3067008 h 3343276"/>
              <a:gd name="connsiteX102" fmla="*/ 1860550 w 1860550"/>
              <a:gd name="connsiteY102" fmla="*/ 3067798 h 3343276"/>
              <a:gd name="connsiteX103" fmla="*/ 1860550 w 1860550"/>
              <a:gd name="connsiteY103" fmla="*/ 3072475 h 3343276"/>
              <a:gd name="connsiteX104" fmla="*/ 1860550 w 1860550"/>
              <a:gd name="connsiteY104" fmla="*/ 3072774 h 3343276"/>
              <a:gd name="connsiteX105" fmla="*/ 1694831 w 1860550"/>
              <a:gd name="connsiteY105" fmla="*/ 3321952 h 3343276"/>
              <a:gd name="connsiteX106" fmla="*/ 1593989 w 1860550"/>
              <a:gd name="connsiteY106" fmla="*/ 3342374 h 3343276"/>
              <a:gd name="connsiteX107" fmla="*/ 1589537 w 1860550"/>
              <a:gd name="connsiteY107" fmla="*/ 3343276 h 3343276"/>
              <a:gd name="connsiteX108" fmla="*/ 267968 w 1860550"/>
              <a:gd name="connsiteY108" fmla="*/ 3343276 h 3343276"/>
              <a:gd name="connsiteX109" fmla="*/ 263590 w 1860550"/>
              <a:gd name="connsiteY109" fmla="*/ 3342374 h 3343276"/>
              <a:gd name="connsiteX110" fmla="*/ 164435 w 1860550"/>
              <a:gd name="connsiteY110" fmla="*/ 3321952 h 3343276"/>
              <a:gd name="connsiteX111" fmla="*/ 0 w 1860550"/>
              <a:gd name="connsiteY111" fmla="*/ 3072774 h 3343276"/>
              <a:gd name="connsiteX112" fmla="*/ 0 w 1860550"/>
              <a:gd name="connsiteY112" fmla="*/ 3072475 h 3343276"/>
              <a:gd name="connsiteX113" fmla="*/ 0 w 1860550"/>
              <a:gd name="connsiteY113" fmla="*/ 2956977 h 3343276"/>
              <a:gd name="connsiteX114" fmla="*/ 0 w 1860550"/>
              <a:gd name="connsiteY114" fmla="*/ 2870182 h 3343276"/>
              <a:gd name="connsiteX115" fmla="*/ 0 w 1860550"/>
              <a:gd name="connsiteY115" fmla="*/ 2807991 h 3343276"/>
              <a:gd name="connsiteX116" fmla="*/ 0 w 1860550"/>
              <a:gd name="connsiteY116" fmla="*/ 2787491 h 3343276"/>
              <a:gd name="connsiteX117" fmla="*/ 0 w 1860550"/>
              <a:gd name="connsiteY117" fmla="*/ 2766302 h 3343276"/>
              <a:gd name="connsiteX118" fmla="*/ 0 w 1860550"/>
              <a:gd name="connsiteY118" fmla="*/ 2741016 h 3343276"/>
              <a:gd name="connsiteX119" fmla="*/ 0 w 1860550"/>
              <a:gd name="connsiteY119" fmla="*/ 2728031 h 3343276"/>
              <a:gd name="connsiteX120" fmla="*/ 0 w 1860550"/>
              <a:gd name="connsiteY120" fmla="*/ 2722563 h 3343276"/>
              <a:gd name="connsiteX121" fmla="*/ 0 w 1860550"/>
              <a:gd name="connsiteY121" fmla="*/ 2522258 h 3343276"/>
              <a:gd name="connsiteX122" fmla="*/ 0 w 1860550"/>
              <a:gd name="connsiteY122" fmla="*/ 505164 h 3343276"/>
              <a:gd name="connsiteX123" fmla="*/ 0 w 1860550"/>
              <a:gd name="connsiteY123" fmla="*/ 461963 h 3343276"/>
              <a:gd name="connsiteX124" fmla="*/ 0 w 1860550"/>
              <a:gd name="connsiteY124" fmla="*/ 418277 h 3343276"/>
              <a:gd name="connsiteX125" fmla="*/ 0 w 1860550"/>
              <a:gd name="connsiteY125" fmla="*/ 398763 h 3343276"/>
              <a:gd name="connsiteX126" fmla="*/ 0 w 1860550"/>
              <a:gd name="connsiteY126" fmla="*/ 356020 h 3343276"/>
              <a:gd name="connsiteX127" fmla="*/ 0 w 1860550"/>
              <a:gd name="connsiteY127" fmla="*/ 351269 h 3343276"/>
              <a:gd name="connsiteX128" fmla="*/ 0 w 1860550"/>
              <a:gd name="connsiteY128" fmla="*/ 314287 h 3343276"/>
              <a:gd name="connsiteX129" fmla="*/ 0 w 1860550"/>
              <a:gd name="connsiteY129" fmla="*/ 294426 h 3343276"/>
              <a:gd name="connsiteX130" fmla="*/ 0 w 1860550"/>
              <a:gd name="connsiteY130" fmla="*/ 288973 h 3343276"/>
              <a:gd name="connsiteX131" fmla="*/ 0 w 1860550"/>
              <a:gd name="connsiteY131" fmla="*/ 275975 h 3343276"/>
              <a:gd name="connsiteX132" fmla="*/ 0 w 1860550"/>
              <a:gd name="connsiteY132" fmla="*/ 273484 h 3343276"/>
              <a:gd name="connsiteX133" fmla="*/ 0 w 1860550"/>
              <a:gd name="connsiteY133" fmla="*/ 270501 h 3343276"/>
              <a:gd name="connsiteX134" fmla="*/ 0 w 1860550"/>
              <a:gd name="connsiteY134" fmla="*/ 270492 h 3343276"/>
              <a:gd name="connsiteX135" fmla="*/ 267968 w 1860550"/>
              <a:gd name="connsiteY135" fmla="*/ 0 h 33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860550" h="3343276">
                <a:moveTo>
                  <a:pt x="930274" y="2997199"/>
                </a:moveTo>
                <a:cubicBezTo>
                  <a:pt x="912739" y="2997199"/>
                  <a:pt x="898524" y="3012125"/>
                  <a:pt x="898524" y="3030537"/>
                </a:cubicBezTo>
                <a:cubicBezTo>
                  <a:pt x="898524" y="3048949"/>
                  <a:pt x="912739" y="3063875"/>
                  <a:pt x="930274" y="3063875"/>
                </a:cubicBezTo>
                <a:cubicBezTo>
                  <a:pt x="947809" y="3063875"/>
                  <a:pt x="962024" y="3048949"/>
                  <a:pt x="962024" y="3030537"/>
                </a:cubicBezTo>
                <a:cubicBezTo>
                  <a:pt x="962024" y="3012125"/>
                  <a:pt x="947809" y="2997199"/>
                  <a:pt x="930274" y="2997199"/>
                </a:cubicBezTo>
                <a:close/>
                <a:moveTo>
                  <a:pt x="930275" y="2874962"/>
                </a:moveTo>
                <a:cubicBezTo>
                  <a:pt x="1015320" y="2874962"/>
                  <a:pt x="1084263" y="2944260"/>
                  <a:pt x="1084263" y="3029744"/>
                </a:cubicBezTo>
                <a:cubicBezTo>
                  <a:pt x="1084263" y="3115228"/>
                  <a:pt x="1015320" y="3184526"/>
                  <a:pt x="930275" y="3184526"/>
                </a:cubicBezTo>
                <a:cubicBezTo>
                  <a:pt x="845230" y="3184526"/>
                  <a:pt x="776287" y="3115228"/>
                  <a:pt x="776287" y="3029744"/>
                </a:cubicBezTo>
                <a:cubicBezTo>
                  <a:pt x="776287" y="2944260"/>
                  <a:pt x="845230" y="2874962"/>
                  <a:pt x="930275" y="2874962"/>
                </a:cubicBezTo>
                <a:close/>
                <a:moveTo>
                  <a:pt x="122238" y="2844800"/>
                </a:moveTo>
                <a:lnTo>
                  <a:pt x="122238" y="2858922"/>
                </a:lnTo>
                <a:lnTo>
                  <a:pt x="122238" y="2919914"/>
                </a:lnTo>
                <a:lnTo>
                  <a:pt x="122238" y="2937881"/>
                </a:lnTo>
                <a:lnTo>
                  <a:pt x="122238" y="2976361"/>
                </a:lnTo>
                <a:lnTo>
                  <a:pt x="122238" y="2994458"/>
                </a:lnTo>
                <a:lnTo>
                  <a:pt x="122238" y="3016807"/>
                </a:lnTo>
                <a:lnTo>
                  <a:pt x="122238" y="3032384"/>
                </a:lnTo>
                <a:lnTo>
                  <a:pt x="122238" y="3043919"/>
                </a:lnTo>
                <a:lnTo>
                  <a:pt x="122238" y="3055388"/>
                </a:lnTo>
                <a:cubicBezTo>
                  <a:pt x="122238" y="3060983"/>
                  <a:pt x="122238" y="3064714"/>
                  <a:pt x="122238" y="3067200"/>
                </a:cubicBezTo>
                <a:lnTo>
                  <a:pt x="122238" y="3068809"/>
                </a:lnTo>
                <a:lnTo>
                  <a:pt x="122238" y="3072174"/>
                </a:lnTo>
                <a:cubicBezTo>
                  <a:pt x="122238" y="3154201"/>
                  <a:pt x="189194" y="3221038"/>
                  <a:pt x="268324" y="3221038"/>
                </a:cubicBezTo>
                <a:cubicBezTo>
                  <a:pt x="1589184" y="3221038"/>
                  <a:pt x="1589184" y="3221038"/>
                  <a:pt x="1589184" y="3221038"/>
                </a:cubicBezTo>
                <a:cubicBezTo>
                  <a:pt x="1671357" y="3221038"/>
                  <a:pt x="1738313" y="3154201"/>
                  <a:pt x="1738313" y="3072174"/>
                </a:cubicBezTo>
                <a:lnTo>
                  <a:pt x="1738313" y="2997250"/>
                </a:lnTo>
                <a:lnTo>
                  <a:pt x="1738313" y="2940804"/>
                </a:lnTo>
                <a:lnTo>
                  <a:pt x="1738313" y="2900358"/>
                </a:lnTo>
                <a:lnTo>
                  <a:pt x="1738313" y="2873246"/>
                </a:lnTo>
                <a:lnTo>
                  <a:pt x="1738313" y="2848356"/>
                </a:lnTo>
                <a:lnTo>
                  <a:pt x="1738313" y="2844800"/>
                </a:lnTo>
                <a:close/>
                <a:moveTo>
                  <a:pt x="122238" y="461963"/>
                </a:moveTo>
                <a:lnTo>
                  <a:pt x="122238" y="525582"/>
                </a:lnTo>
                <a:cubicBezTo>
                  <a:pt x="122238" y="1639716"/>
                  <a:pt x="122238" y="2266416"/>
                  <a:pt x="122238" y="2618936"/>
                </a:cubicBezTo>
                <a:lnTo>
                  <a:pt x="122238" y="2722563"/>
                </a:lnTo>
                <a:lnTo>
                  <a:pt x="169032" y="2722563"/>
                </a:lnTo>
                <a:cubicBezTo>
                  <a:pt x="1096639" y="2722563"/>
                  <a:pt x="1515558" y="2722563"/>
                  <a:pt x="1704747" y="2722563"/>
                </a:cubicBezTo>
                <a:lnTo>
                  <a:pt x="1738313" y="2722563"/>
                </a:lnTo>
                <a:lnTo>
                  <a:pt x="1738313" y="2521894"/>
                </a:lnTo>
                <a:cubicBezTo>
                  <a:pt x="1738313" y="1330298"/>
                  <a:pt x="1738313" y="769547"/>
                  <a:pt x="1738313" y="505665"/>
                </a:cubicBezTo>
                <a:lnTo>
                  <a:pt x="1738313" y="461963"/>
                </a:lnTo>
                <a:lnTo>
                  <a:pt x="1691518" y="461963"/>
                </a:lnTo>
                <a:cubicBezTo>
                  <a:pt x="763911" y="461963"/>
                  <a:pt x="344992" y="461963"/>
                  <a:pt x="155803" y="461963"/>
                </a:cubicBezTo>
                <a:close/>
                <a:moveTo>
                  <a:pt x="721442" y="169863"/>
                </a:moveTo>
                <a:cubicBezTo>
                  <a:pt x="1072433" y="169863"/>
                  <a:pt x="1072433" y="169863"/>
                  <a:pt x="1072433" y="169863"/>
                </a:cubicBezTo>
                <a:cubicBezTo>
                  <a:pt x="1106006" y="169863"/>
                  <a:pt x="1133475" y="197367"/>
                  <a:pt x="1133475" y="230982"/>
                </a:cubicBezTo>
                <a:cubicBezTo>
                  <a:pt x="1133475" y="264598"/>
                  <a:pt x="1106006" y="292101"/>
                  <a:pt x="1072433" y="292101"/>
                </a:cubicBezTo>
                <a:cubicBezTo>
                  <a:pt x="721442" y="292101"/>
                  <a:pt x="721442" y="292101"/>
                  <a:pt x="721442" y="292101"/>
                </a:cubicBezTo>
                <a:cubicBezTo>
                  <a:pt x="687869" y="292101"/>
                  <a:pt x="660400" y="264598"/>
                  <a:pt x="660400" y="230982"/>
                </a:cubicBezTo>
                <a:cubicBezTo>
                  <a:pt x="660400" y="197367"/>
                  <a:pt x="687869" y="169863"/>
                  <a:pt x="721442" y="169863"/>
                </a:cubicBezTo>
                <a:close/>
                <a:moveTo>
                  <a:pt x="1281907" y="149225"/>
                </a:moveTo>
                <a:cubicBezTo>
                  <a:pt x="1327060" y="149225"/>
                  <a:pt x="1363664" y="185118"/>
                  <a:pt x="1363664" y="229394"/>
                </a:cubicBezTo>
                <a:cubicBezTo>
                  <a:pt x="1363664" y="273670"/>
                  <a:pt x="1327060" y="309563"/>
                  <a:pt x="1281907" y="309563"/>
                </a:cubicBezTo>
                <a:cubicBezTo>
                  <a:pt x="1236754" y="309563"/>
                  <a:pt x="1200150" y="273670"/>
                  <a:pt x="1200150" y="229394"/>
                </a:cubicBezTo>
                <a:cubicBezTo>
                  <a:pt x="1200150" y="185118"/>
                  <a:pt x="1236754" y="149225"/>
                  <a:pt x="1281907" y="149225"/>
                </a:cubicBezTo>
                <a:close/>
                <a:moveTo>
                  <a:pt x="268324" y="122238"/>
                </a:moveTo>
                <a:cubicBezTo>
                  <a:pt x="189194" y="122238"/>
                  <a:pt x="122238" y="189178"/>
                  <a:pt x="122238" y="271331"/>
                </a:cubicBezTo>
                <a:lnTo>
                  <a:pt x="122238" y="341313"/>
                </a:lnTo>
                <a:cubicBezTo>
                  <a:pt x="1738313" y="341313"/>
                  <a:pt x="1738313" y="341313"/>
                  <a:pt x="1738313" y="341313"/>
                </a:cubicBezTo>
                <a:lnTo>
                  <a:pt x="1738313" y="314869"/>
                </a:lnTo>
                <a:lnTo>
                  <a:pt x="1738313" y="300855"/>
                </a:lnTo>
                <a:lnTo>
                  <a:pt x="1738313" y="289566"/>
                </a:lnTo>
                <a:lnTo>
                  <a:pt x="1738313" y="280079"/>
                </a:lnTo>
                <a:lnTo>
                  <a:pt x="1738313" y="276573"/>
                </a:lnTo>
                <a:lnTo>
                  <a:pt x="1738313" y="271331"/>
                </a:lnTo>
                <a:cubicBezTo>
                  <a:pt x="1738313" y="189178"/>
                  <a:pt x="1671357" y="122238"/>
                  <a:pt x="1589184" y="122238"/>
                </a:cubicBezTo>
                <a:lnTo>
                  <a:pt x="1469183" y="122238"/>
                </a:lnTo>
                <a:lnTo>
                  <a:pt x="1356679" y="122238"/>
                </a:lnTo>
                <a:lnTo>
                  <a:pt x="1153197" y="122238"/>
                </a:lnTo>
                <a:lnTo>
                  <a:pt x="976803" y="122238"/>
                </a:lnTo>
                <a:lnTo>
                  <a:pt x="825562" y="122238"/>
                </a:lnTo>
                <a:lnTo>
                  <a:pt x="697539" y="122238"/>
                </a:lnTo>
                <a:lnTo>
                  <a:pt x="590799" y="122238"/>
                </a:lnTo>
                <a:lnTo>
                  <a:pt x="503408" y="122238"/>
                </a:lnTo>
                <a:lnTo>
                  <a:pt x="433431" y="122238"/>
                </a:lnTo>
                <a:lnTo>
                  <a:pt x="378933" y="122238"/>
                </a:lnTo>
                <a:lnTo>
                  <a:pt x="337979" y="122238"/>
                </a:lnTo>
                <a:lnTo>
                  <a:pt x="308633" y="122238"/>
                </a:lnTo>
                <a:lnTo>
                  <a:pt x="288962" y="122238"/>
                </a:lnTo>
                <a:lnTo>
                  <a:pt x="277031" y="122238"/>
                </a:lnTo>
                <a:lnTo>
                  <a:pt x="270904" y="122238"/>
                </a:lnTo>
                <a:close/>
                <a:moveTo>
                  <a:pt x="267968" y="0"/>
                </a:moveTo>
                <a:cubicBezTo>
                  <a:pt x="1589537" y="0"/>
                  <a:pt x="1589537" y="0"/>
                  <a:pt x="1589537" y="0"/>
                </a:cubicBezTo>
                <a:cubicBezTo>
                  <a:pt x="1738747" y="0"/>
                  <a:pt x="1860550" y="121569"/>
                  <a:pt x="1860550" y="270492"/>
                </a:cubicBezTo>
                <a:lnTo>
                  <a:pt x="1860550" y="270501"/>
                </a:lnTo>
                <a:lnTo>
                  <a:pt x="1860550" y="461963"/>
                </a:lnTo>
                <a:lnTo>
                  <a:pt x="1860550" y="525090"/>
                </a:lnTo>
                <a:cubicBezTo>
                  <a:pt x="1860550" y="1639702"/>
                  <a:pt x="1860550" y="2266671"/>
                  <a:pt x="1860550" y="2619341"/>
                </a:cubicBezTo>
                <a:lnTo>
                  <a:pt x="1860550" y="2722563"/>
                </a:lnTo>
                <a:lnTo>
                  <a:pt x="1860550" y="2754314"/>
                </a:lnTo>
                <a:lnTo>
                  <a:pt x="1860550" y="2838062"/>
                </a:lnTo>
                <a:lnTo>
                  <a:pt x="1860550" y="2859431"/>
                </a:lnTo>
                <a:lnTo>
                  <a:pt x="1860550" y="2924856"/>
                </a:lnTo>
                <a:lnTo>
                  <a:pt x="1860550" y="2938424"/>
                </a:lnTo>
                <a:lnTo>
                  <a:pt x="1860550" y="2987047"/>
                </a:lnTo>
                <a:lnTo>
                  <a:pt x="1860550" y="2995025"/>
                </a:lnTo>
                <a:lnTo>
                  <a:pt x="1860550" y="3028736"/>
                </a:lnTo>
                <a:lnTo>
                  <a:pt x="1860550" y="3032967"/>
                </a:lnTo>
                <a:lnTo>
                  <a:pt x="1860550" y="3054023"/>
                </a:lnTo>
                <a:lnTo>
                  <a:pt x="1860550" y="3055980"/>
                </a:lnTo>
                <a:lnTo>
                  <a:pt x="1860550" y="3067008"/>
                </a:lnTo>
                <a:lnTo>
                  <a:pt x="1860550" y="3067798"/>
                </a:lnTo>
                <a:lnTo>
                  <a:pt x="1860550" y="3072475"/>
                </a:lnTo>
                <a:lnTo>
                  <a:pt x="1860550" y="3072774"/>
                </a:lnTo>
                <a:cubicBezTo>
                  <a:pt x="1860550" y="3184470"/>
                  <a:pt x="1792036" y="3280779"/>
                  <a:pt x="1694831" y="3321952"/>
                </a:cubicBezTo>
                <a:lnTo>
                  <a:pt x="1593989" y="3342374"/>
                </a:lnTo>
                <a:lnTo>
                  <a:pt x="1589537" y="3343276"/>
                </a:lnTo>
                <a:cubicBezTo>
                  <a:pt x="267968" y="3343276"/>
                  <a:pt x="267968" y="3343276"/>
                  <a:pt x="267968" y="3343276"/>
                </a:cubicBezTo>
                <a:lnTo>
                  <a:pt x="263590" y="3342374"/>
                </a:lnTo>
                <a:lnTo>
                  <a:pt x="164435" y="3321952"/>
                </a:lnTo>
                <a:cubicBezTo>
                  <a:pt x="68515" y="3280779"/>
                  <a:pt x="0" y="3184470"/>
                  <a:pt x="0" y="3072774"/>
                </a:cubicBezTo>
                <a:lnTo>
                  <a:pt x="0" y="3072475"/>
                </a:lnTo>
                <a:lnTo>
                  <a:pt x="0" y="2956977"/>
                </a:lnTo>
                <a:lnTo>
                  <a:pt x="0" y="2870182"/>
                </a:lnTo>
                <a:lnTo>
                  <a:pt x="0" y="2807991"/>
                </a:lnTo>
                <a:lnTo>
                  <a:pt x="0" y="2787491"/>
                </a:lnTo>
                <a:lnTo>
                  <a:pt x="0" y="2766302"/>
                </a:lnTo>
                <a:lnTo>
                  <a:pt x="0" y="2741016"/>
                </a:lnTo>
                <a:lnTo>
                  <a:pt x="0" y="2728031"/>
                </a:lnTo>
                <a:lnTo>
                  <a:pt x="0" y="2722563"/>
                </a:lnTo>
                <a:lnTo>
                  <a:pt x="0" y="2522258"/>
                </a:lnTo>
                <a:cubicBezTo>
                  <a:pt x="0" y="1330151"/>
                  <a:pt x="0" y="769160"/>
                  <a:pt x="0" y="505164"/>
                </a:cubicBezTo>
                <a:lnTo>
                  <a:pt x="0" y="461963"/>
                </a:lnTo>
                <a:lnTo>
                  <a:pt x="0" y="418277"/>
                </a:lnTo>
                <a:lnTo>
                  <a:pt x="0" y="398763"/>
                </a:lnTo>
                <a:lnTo>
                  <a:pt x="0" y="356020"/>
                </a:lnTo>
                <a:lnTo>
                  <a:pt x="0" y="351269"/>
                </a:lnTo>
                <a:lnTo>
                  <a:pt x="0" y="314287"/>
                </a:lnTo>
                <a:lnTo>
                  <a:pt x="0" y="294426"/>
                </a:lnTo>
                <a:lnTo>
                  <a:pt x="0" y="288973"/>
                </a:lnTo>
                <a:cubicBezTo>
                  <a:pt x="0" y="282816"/>
                  <a:pt x="0" y="278711"/>
                  <a:pt x="0" y="275975"/>
                </a:cubicBezTo>
                <a:lnTo>
                  <a:pt x="0" y="273484"/>
                </a:lnTo>
                <a:lnTo>
                  <a:pt x="0" y="270501"/>
                </a:lnTo>
                <a:lnTo>
                  <a:pt x="0" y="270492"/>
                </a:lnTo>
                <a:cubicBezTo>
                  <a:pt x="0" y="121569"/>
                  <a:pt x="121804" y="0"/>
                  <a:pt x="267968"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496" name="Freeform 54"/>
          <p:cNvSpPr>
            <a:spLocks/>
          </p:cNvSpPr>
          <p:nvPr/>
        </p:nvSpPr>
        <p:spPr bwMode="auto">
          <a:xfrm>
            <a:off x="3921879" y="5543695"/>
            <a:ext cx="164517" cy="295626"/>
          </a:xfrm>
          <a:custGeom>
            <a:avLst/>
            <a:gdLst>
              <a:gd name="connsiteX0" fmla="*/ 930274 w 1860550"/>
              <a:gd name="connsiteY0" fmla="*/ 2997199 h 3343276"/>
              <a:gd name="connsiteX1" fmla="*/ 898524 w 1860550"/>
              <a:gd name="connsiteY1" fmla="*/ 3030537 h 3343276"/>
              <a:gd name="connsiteX2" fmla="*/ 930274 w 1860550"/>
              <a:gd name="connsiteY2" fmla="*/ 3063875 h 3343276"/>
              <a:gd name="connsiteX3" fmla="*/ 962024 w 1860550"/>
              <a:gd name="connsiteY3" fmla="*/ 3030537 h 3343276"/>
              <a:gd name="connsiteX4" fmla="*/ 930274 w 1860550"/>
              <a:gd name="connsiteY4" fmla="*/ 2997199 h 3343276"/>
              <a:gd name="connsiteX5" fmla="*/ 930275 w 1860550"/>
              <a:gd name="connsiteY5" fmla="*/ 2874962 h 3343276"/>
              <a:gd name="connsiteX6" fmla="*/ 1084263 w 1860550"/>
              <a:gd name="connsiteY6" fmla="*/ 3029744 h 3343276"/>
              <a:gd name="connsiteX7" fmla="*/ 930275 w 1860550"/>
              <a:gd name="connsiteY7" fmla="*/ 3184526 h 3343276"/>
              <a:gd name="connsiteX8" fmla="*/ 776287 w 1860550"/>
              <a:gd name="connsiteY8" fmla="*/ 3029744 h 3343276"/>
              <a:gd name="connsiteX9" fmla="*/ 930275 w 1860550"/>
              <a:gd name="connsiteY9" fmla="*/ 2874962 h 3343276"/>
              <a:gd name="connsiteX10" fmla="*/ 122238 w 1860550"/>
              <a:gd name="connsiteY10" fmla="*/ 2844800 h 3343276"/>
              <a:gd name="connsiteX11" fmla="*/ 122238 w 1860550"/>
              <a:gd name="connsiteY11" fmla="*/ 2858922 h 3343276"/>
              <a:gd name="connsiteX12" fmla="*/ 122238 w 1860550"/>
              <a:gd name="connsiteY12" fmla="*/ 2919914 h 3343276"/>
              <a:gd name="connsiteX13" fmla="*/ 122238 w 1860550"/>
              <a:gd name="connsiteY13" fmla="*/ 2937881 h 3343276"/>
              <a:gd name="connsiteX14" fmla="*/ 122238 w 1860550"/>
              <a:gd name="connsiteY14" fmla="*/ 2976361 h 3343276"/>
              <a:gd name="connsiteX15" fmla="*/ 122238 w 1860550"/>
              <a:gd name="connsiteY15" fmla="*/ 2994458 h 3343276"/>
              <a:gd name="connsiteX16" fmla="*/ 122238 w 1860550"/>
              <a:gd name="connsiteY16" fmla="*/ 3016807 h 3343276"/>
              <a:gd name="connsiteX17" fmla="*/ 122238 w 1860550"/>
              <a:gd name="connsiteY17" fmla="*/ 3032384 h 3343276"/>
              <a:gd name="connsiteX18" fmla="*/ 122238 w 1860550"/>
              <a:gd name="connsiteY18" fmla="*/ 3043919 h 3343276"/>
              <a:gd name="connsiteX19" fmla="*/ 122238 w 1860550"/>
              <a:gd name="connsiteY19" fmla="*/ 3055388 h 3343276"/>
              <a:gd name="connsiteX20" fmla="*/ 122238 w 1860550"/>
              <a:gd name="connsiteY20" fmla="*/ 3067200 h 3343276"/>
              <a:gd name="connsiteX21" fmla="*/ 122238 w 1860550"/>
              <a:gd name="connsiteY21" fmla="*/ 3068809 h 3343276"/>
              <a:gd name="connsiteX22" fmla="*/ 122238 w 1860550"/>
              <a:gd name="connsiteY22" fmla="*/ 3072174 h 3343276"/>
              <a:gd name="connsiteX23" fmla="*/ 268324 w 1860550"/>
              <a:gd name="connsiteY23" fmla="*/ 3221038 h 3343276"/>
              <a:gd name="connsiteX24" fmla="*/ 1589184 w 1860550"/>
              <a:gd name="connsiteY24" fmla="*/ 3221038 h 3343276"/>
              <a:gd name="connsiteX25" fmla="*/ 1738313 w 1860550"/>
              <a:gd name="connsiteY25" fmla="*/ 3072174 h 3343276"/>
              <a:gd name="connsiteX26" fmla="*/ 1738313 w 1860550"/>
              <a:gd name="connsiteY26" fmla="*/ 2997250 h 3343276"/>
              <a:gd name="connsiteX27" fmla="*/ 1738313 w 1860550"/>
              <a:gd name="connsiteY27" fmla="*/ 2940804 h 3343276"/>
              <a:gd name="connsiteX28" fmla="*/ 1738313 w 1860550"/>
              <a:gd name="connsiteY28" fmla="*/ 2900358 h 3343276"/>
              <a:gd name="connsiteX29" fmla="*/ 1738313 w 1860550"/>
              <a:gd name="connsiteY29" fmla="*/ 2873246 h 3343276"/>
              <a:gd name="connsiteX30" fmla="*/ 1738313 w 1860550"/>
              <a:gd name="connsiteY30" fmla="*/ 2848356 h 3343276"/>
              <a:gd name="connsiteX31" fmla="*/ 1738313 w 1860550"/>
              <a:gd name="connsiteY31" fmla="*/ 2844800 h 3343276"/>
              <a:gd name="connsiteX32" fmla="*/ 122238 w 1860550"/>
              <a:gd name="connsiteY32" fmla="*/ 461963 h 3343276"/>
              <a:gd name="connsiteX33" fmla="*/ 122238 w 1860550"/>
              <a:gd name="connsiteY33" fmla="*/ 525582 h 3343276"/>
              <a:gd name="connsiteX34" fmla="*/ 122238 w 1860550"/>
              <a:gd name="connsiteY34" fmla="*/ 2618936 h 3343276"/>
              <a:gd name="connsiteX35" fmla="*/ 122238 w 1860550"/>
              <a:gd name="connsiteY35" fmla="*/ 2722563 h 3343276"/>
              <a:gd name="connsiteX36" fmla="*/ 169032 w 1860550"/>
              <a:gd name="connsiteY36" fmla="*/ 2722563 h 3343276"/>
              <a:gd name="connsiteX37" fmla="*/ 1704747 w 1860550"/>
              <a:gd name="connsiteY37" fmla="*/ 2722563 h 3343276"/>
              <a:gd name="connsiteX38" fmla="*/ 1738313 w 1860550"/>
              <a:gd name="connsiteY38" fmla="*/ 2722563 h 3343276"/>
              <a:gd name="connsiteX39" fmla="*/ 1738313 w 1860550"/>
              <a:gd name="connsiteY39" fmla="*/ 2521894 h 3343276"/>
              <a:gd name="connsiteX40" fmla="*/ 1738313 w 1860550"/>
              <a:gd name="connsiteY40" fmla="*/ 505665 h 3343276"/>
              <a:gd name="connsiteX41" fmla="*/ 1738313 w 1860550"/>
              <a:gd name="connsiteY41" fmla="*/ 461963 h 3343276"/>
              <a:gd name="connsiteX42" fmla="*/ 1691518 w 1860550"/>
              <a:gd name="connsiteY42" fmla="*/ 461963 h 3343276"/>
              <a:gd name="connsiteX43" fmla="*/ 155803 w 1860550"/>
              <a:gd name="connsiteY43" fmla="*/ 461963 h 3343276"/>
              <a:gd name="connsiteX44" fmla="*/ 721442 w 1860550"/>
              <a:gd name="connsiteY44" fmla="*/ 169863 h 3343276"/>
              <a:gd name="connsiteX45" fmla="*/ 1072433 w 1860550"/>
              <a:gd name="connsiteY45" fmla="*/ 169863 h 3343276"/>
              <a:gd name="connsiteX46" fmla="*/ 1133475 w 1860550"/>
              <a:gd name="connsiteY46" fmla="*/ 230982 h 3343276"/>
              <a:gd name="connsiteX47" fmla="*/ 1072433 w 1860550"/>
              <a:gd name="connsiteY47" fmla="*/ 292101 h 3343276"/>
              <a:gd name="connsiteX48" fmla="*/ 721442 w 1860550"/>
              <a:gd name="connsiteY48" fmla="*/ 292101 h 3343276"/>
              <a:gd name="connsiteX49" fmla="*/ 660400 w 1860550"/>
              <a:gd name="connsiteY49" fmla="*/ 230982 h 3343276"/>
              <a:gd name="connsiteX50" fmla="*/ 721442 w 1860550"/>
              <a:gd name="connsiteY50" fmla="*/ 169863 h 3343276"/>
              <a:gd name="connsiteX51" fmla="*/ 1281907 w 1860550"/>
              <a:gd name="connsiteY51" fmla="*/ 149225 h 3343276"/>
              <a:gd name="connsiteX52" fmla="*/ 1363664 w 1860550"/>
              <a:gd name="connsiteY52" fmla="*/ 229394 h 3343276"/>
              <a:gd name="connsiteX53" fmla="*/ 1281907 w 1860550"/>
              <a:gd name="connsiteY53" fmla="*/ 309563 h 3343276"/>
              <a:gd name="connsiteX54" fmla="*/ 1200150 w 1860550"/>
              <a:gd name="connsiteY54" fmla="*/ 229394 h 3343276"/>
              <a:gd name="connsiteX55" fmla="*/ 1281907 w 1860550"/>
              <a:gd name="connsiteY55" fmla="*/ 149225 h 3343276"/>
              <a:gd name="connsiteX56" fmla="*/ 268324 w 1860550"/>
              <a:gd name="connsiteY56" fmla="*/ 122238 h 3343276"/>
              <a:gd name="connsiteX57" fmla="*/ 122238 w 1860550"/>
              <a:gd name="connsiteY57" fmla="*/ 271331 h 3343276"/>
              <a:gd name="connsiteX58" fmla="*/ 122238 w 1860550"/>
              <a:gd name="connsiteY58" fmla="*/ 341313 h 3343276"/>
              <a:gd name="connsiteX59" fmla="*/ 1738313 w 1860550"/>
              <a:gd name="connsiteY59" fmla="*/ 341313 h 3343276"/>
              <a:gd name="connsiteX60" fmla="*/ 1738313 w 1860550"/>
              <a:gd name="connsiteY60" fmla="*/ 314869 h 3343276"/>
              <a:gd name="connsiteX61" fmla="*/ 1738313 w 1860550"/>
              <a:gd name="connsiteY61" fmla="*/ 300855 h 3343276"/>
              <a:gd name="connsiteX62" fmla="*/ 1738313 w 1860550"/>
              <a:gd name="connsiteY62" fmla="*/ 289566 h 3343276"/>
              <a:gd name="connsiteX63" fmla="*/ 1738313 w 1860550"/>
              <a:gd name="connsiteY63" fmla="*/ 280079 h 3343276"/>
              <a:gd name="connsiteX64" fmla="*/ 1738313 w 1860550"/>
              <a:gd name="connsiteY64" fmla="*/ 276573 h 3343276"/>
              <a:gd name="connsiteX65" fmla="*/ 1738313 w 1860550"/>
              <a:gd name="connsiteY65" fmla="*/ 271331 h 3343276"/>
              <a:gd name="connsiteX66" fmla="*/ 1589184 w 1860550"/>
              <a:gd name="connsiteY66" fmla="*/ 122238 h 3343276"/>
              <a:gd name="connsiteX67" fmla="*/ 1469183 w 1860550"/>
              <a:gd name="connsiteY67" fmla="*/ 122238 h 3343276"/>
              <a:gd name="connsiteX68" fmla="*/ 1356679 w 1860550"/>
              <a:gd name="connsiteY68" fmla="*/ 122238 h 3343276"/>
              <a:gd name="connsiteX69" fmla="*/ 1153197 w 1860550"/>
              <a:gd name="connsiteY69" fmla="*/ 122238 h 3343276"/>
              <a:gd name="connsiteX70" fmla="*/ 976803 w 1860550"/>
              <a:gd name="connsiteY70" fmla="*/ 122238 h 3343276"/>
              <a:gd name="connsiteX71" fmla="*/ 825562 w 1860550"/>
              <a:gd name="connsiteY71" fmla="*/ 122238 h 3343276"/>
              <a:gd name="connsiteX72" fmla="*/ 697539 w 1860550"/>
              <a:gd name="connsiteY72" fmla="*/ 122238 h 3343276"/>
              <a:gd name="connsiteX73" fmla="*/ 590799 w 1860550"/>
              <a:gd name="connsiteY73" fmla="*/ 122238 h 3343276"/>
              <a:gd name="connsiteX74" fmla="*/ 503408 w 1860550"/>
              <a:gd name="connsiteY74" fmla="*/ 122238 h 3343276"/>
              <a:gd name="connsiteX75" fmla="*/ 433431 w 1860550"/>
              <a:gd name="connsiteY75" fmla="*/ 122238 h 3343276"/>
              <a:gd name="connsiteX76" fmla="*/ 378933 w 1860550"/>
              <a:gd name="connsiteY76" fmla="*/ 122238 h 3343276"/>
              <a:gd name="connsiteX77" fmla="*/ 337979 w 1860550"/>
              <a:gd name="connsiteY77" fmla="*/ 122238 h 3343276"/>
              <a:gd name="connsiteX78" fmla="*/ 308633 w 1860550"/>
              <a:gd name="connsiteY78" fmla="*/ 122238 h 3343276"/>
              <a:gd name="connsiteX79" fmla="*/ 288962 w 1860550"/>
              <a:gd name="connsiteY79" fmla="*/ 122238 h 3343276"/>
              <a:gd name="connsiteX80" fmla="*/ 277031 w 1860550"/>
              <a:gd name="connsiteY80" fmla="*/ 122238 h 3343276"/>
              <a:gd name="connsiteX81" fmla="*/ 270904 w 1860550"/>
              <a:gd name="connsiteY81" fmla="*/ 122238 h 3343276"/>
              <a:gd name="connsiteX82" fmla="*/ 267968 w 1860550"/>
              <a:gd name="connsiteY82" fmla="*/ 0 h 3343276"/>
              <a:gd name="connsiteX83" fmla="*/ 1589537 w 1860550"/>
              <a:gd name="connsiteY83" fmla="*/ 0 h 3343276"/>
              <a:gd name="connsiteX84" fmla="*/ 1860550 w 1860550"/>
              <a:gd name="connsiteY84" fmla="*/ 270492 h 3343276"/>
              <a:gd name="connsiteX85" fmla="*/ 1860550 w 1860550"/>
              <a:gd name="connsiteY85" fmla="*/ 270501 h 3343276"/>
              <a:gd name="connsiteX86" fmla="*/ 1860550 w 1860550"/>
              <a:gd name="connsiteY86" fmla="*/ 461963 h 3343276"/>
              <a:gd name="connsiteX87" fmla="*/ 1860550 w 1860550"/>
              <a:gd name="connsiteY87" fmla="*/ 525090 h 3343276"/>
              <a:gd name="connsiteX88" fmla="*/ 1860550 w 1860550"/>
              <a:gd name="connsiteY88" fmla="*/ 2619341 h 3343276"/>
              <a:gd name="connsiteX89" fmla="*/ 1860550 w 1860550"/>
              <a:gd name="connsiteY89" fmla="*/ 2722563 h 3343276"/>
              <a:gd name="connsiteX90" fmla="*/ 1860550 w 1860550"/>
              <a:gd name="connsiteY90" fmla="*/ 2754314 h 3343276"/>
              <a:gd name="connsiteX91" fmla="*/ 1860550 w 1860550"/>
              <a:gd name="connsiteY91" fmla="*/ 2838062 h 3343276"/>
              <a:gd name="connsiteX92" fmla="*/ 1860550 w 1860550"/>
              <a:gd name="connsiteY92" fmla="*/ 2859431 h 3343276"/>
              <a:gd name="connsiteX93" fmla="*/ 1860550 w 1860550"/>
              <a:gd name="connsiteY93" fmla="*/ 2924856 h 3343276"/>
              <a:gd name="connsiteX94" fmla="*/ 1860550 w 1860550"/>
              <a:gd name="connsiteY94" fmla="*/ 2938424 h 3343276"/>
              <a:gd name="connsiteX95" fmla="*/ 1860550 w 1860550"/>
              <a:gd name="connsiteY95" fmla="*/ 2987047 h 3343276"/>
              <a:gd name="connsiteX96" fmla="*/ 1860550 w 1860550"/>
              <a:gd name="connsiteY96" fmla="*/ 2995025 h 3343276"/>
              <a:gd name="connsiteX97" fmla="*/ 1860550 w 1860550"/>
              <a:gd name="connsiteY97" fmla="*/ 3028736 h 3343276"/>
              <a:gd name="connsiteX98" fmla="*/ 1860550 w 1860550"/>
              <a:gd name="connsiteY98" fmla="*/ 3032967 h 3343276"/>
              <a:gd name="connsiteX99" fmla="*/ 1860550 w 1860550"/>
              <a:gd name="connsiteY99" fmla="*/ 3054023 h 3343276"/>
              <a:gd name="connsiteX100" fmla="*/ 1860550 w 1860550"/>
              <a:gd name="connsiteY100" fmla="*/ 3055980 h 3343276"/>
              <a:gd name="connsiteX101" fmla="*/ 1860550 w 1860550"/>
              <a:gd name="connsiteY101" fmla="*/ 3067008 h 3343276"/>
              <a:gd name="connsiteX102" fmla="*/ 1860550 w 1860550"/>
              <a:gd name="connsiteY102" fmla="*/ 3067798 h 3343276"/>
              <a:gd name="connsiteX103" fmla="*/ 1860550 w 1860550"/>
              <a:gd name="connsiteY103" fmla="*/ 3072475 h 3343276"/>
              <a:gd name="connsiteX104" fmla="*/ 1860550 w 1860550"/>
              <a:gd name="connsiteY104" fmla="*/ 3072774 h 3343276"/>
              <a:gd name="connsiteX105" fmla="*/ 1694831 w 1860550"/>
              <a:gd name="connsiteY105" fmla="*/ 3321952 h 3343276"/>
              <a:gd name="connsiteX106" fmla="*/ 1593989 w 1860550"/>
              <a:gd name="connsiteY106" fmla="*/ 3342374 h 3343276"/>
              <a:gd name="connsiteX107" fmla="*/ 1589537 w 1860550"/>
              <a:gd name="connsiteY107" fmla="*/ 3343276 h 3343276"/>
              <a:gd name="connsiteX108" fmla="*/ 267968 w 1860550"/>
              <a:gd name="connsiteY108" fmla="*/ 3343276 h 3343276"/>
              <a:gd name="connsiteX109" fmla="*/ 263590 w 1860550"/>
              <a:gd name="connsiteY109" fmla="*/ 3342374 h 3343276"/>
              <a:gd name="connsiteX110" fmla="*/ 164435 w 1860550"/>
              <a:gd name="connsiteY110" fmla="*/ 3321952 h 3343276"/>
              <a:gd name="connsiteX111" fmla="*/ 0 w 1860550"/>
              <a:gd name="connsiteY111" fmla="*/ 3072774 h 3343276"/>
              <a:gd name="connsiteX112" fmla="*/ 0 w 1860550"/>
              <a:gd name="connsiteY112" fmla="*/ 3072475 h 3343276"/>
              <a:gd name="connsiteX113" fmla="*/ 0 w 1860550"/>
              <a:gd name="connsiteY113" fmla="*/ 2956977 h 3343276"/>
              <a:gd name="connsiteX114" fmla="*/ 0 w 1860550"/>
              <a:gd name="connsiteY114" fmla="*/ 2870182 h 3343276"/>
              <a:gd name="connsiteX115" fmla="*/ 0 w 1860550"/>
              <a:gd name="connsiteY115" fmla="*/ 2807991 h 3343276"/>
              <a:gd name="connsiteX116" fmla="*/ 0 w 1860550"/>
              <a:gd name="connsiteY116" fmla="*/ 2787491 h 3343276"/>
              <a:gd name="connsiteX117" fmla="*/ 0 w 1860550"/>
              <a:gd name="connsiteY117" fmla="*/ 2766302 h 3343276"/>
              <a:gd name="connsiteX118" fmla="*/ 0 w 1860550"/>
              <a:gd name="connsiteY118" fmla="*/ 2741016 h 3343276"/>
              <a:gd name="connsiteX119" fmla="*/ 0 w 1860550"/>
              <a:gd name="connsiteY119" fmla="*/ 2728031 h 3343276"/>
              <a:gd name="connsiteX120" fmla="*/ 0 w 1860550"/>
              <a:gd name="connsiteY120" fmla="*/ 2722563 h 3343276"/>
              <a:gd name="connsiteX121" fmla="*/ 0 w 1860550"/>
              <a:gd name="connsiteY121" fmla="*/ 2522258 h 3343276"/>
              <a:gd name="connsiteX122" fmla="*/ 0 w 1860550"/>
              <a:gd name="connsiteY122" fmla="*/ 505164 h 3343276"/>
              <a:gd name="connsiteX123" fmla="*/ 0 w 1860550"/>
              <a:gd name="connsiteY123" fmla="*/ 461963 h 3343276"/>
              <a:gd name="connsiteX124" fmla="*/ 0 w 1860550"/>
              <a:gd name="connsiteY124" fmla="*/ 418277 h 3343276"/>
              <a:gd name="connsiteX125" fmla="*/ 0 w 1860550"/>
              <a:gd name="connsiteY125" fmla="*/ 398763 h 3343276"/>
              <a:gd name="connsiteX126" fmla="*/ 0 w 1860550"/>
              <a:gd name="connsiteY126" fmla="*/ 356020 h 3343276"/>
              <a:gd name="connsiteX127" fmla="*/ 0 w 1860550"/>
              <a:gd name="connsiteY127" fmla="*/ 351269 h 3343276"/>
              <a:gd name="connsiteX128" fmla="*/ 0 w 1860550"/>
              <a:gd name="connsiteY128" fmla="*/ 314287 h 3343276"/>
              <a:gd name="connsiteX129" fmla="*/ 0 w 1860550"/>
              <a:gd name="connsiteY129" fmla="*/ 294426 h 3343276"/>
              <a:gd name="connsiteX130" fmla="*/ 0 w 1860550"/>
              <a:gd name="connsiteY130" fmla="*/ 288973 h 3343276"/>
              <a:gd name="connsiteX131" fmla="*/ 0 w 1860550"/>
              <a:gd name="connsiteY131" fmla="*/ 275975 h 3343276"/>
              <a:gd name="connsiteX132" fmla="*/ 0 w 1860550"/>
              <a:gd name="connsiteY132" fmla="*/ 273484 h 3343276"/>
              <a:gd name="connsiteX133" fmla="*/ 0 w 1860550"/>
              <a:gd name="connsiteY133" fmla="*/ 270501 h 3343276"/>
              <a:gd name="connsiteX134" fmla="*/ 0 w 1860550"/>
              <a:gd name="connsiteY134" fmla="*/ 270492 h 3343276"/>
              <a:gd name="connsiteX135" fmla="*/ 267968 w 1860550"/>
              <a:gd name="connsiteY135" fmla="*/ 0 h 33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860550" h="3343276">
                <a:moveTo>
                  <a:pt x="930274" y="2997199"/>
                </a:moveTo>
                <a:cubicBezTo>
                  <a:pt x="912739" y="2997199"/>
                  <a:pt x="898524" y="3012125"/>
                  <a:pt x="898524" y="3030537"/>
                </a:cubicBezTo>
                <a:cubicBezTo>
                  <a:pt x="898524" y="3048949"/>
                  <a:pt x="912739" y="3063875"/>
                  <a:pt x="930274" y="3063875"/>
                </a:cubicBezTo>
                <a:cubicBezTo>
                  <a:pt x="947809" y="3063875"/>
                  <a:pt x="962024" y="3048949"/>
                  <a:pt x="962024" y="3030537"/>
                </a:cubicBezTo>
                <a:cubicBezTo>
                  <a:pt x="962024" y="3012125"/>
                  <a:pt x="947809" y="2997199"/>
                  <a:pt x="930274" y="2997199"/>
                </a:cubicBezTo>
                <a:close/>
                <a:moveTo>
                  <a:pt x="930275" y="2874962"/>
                </a:moveTo>
                <a:cubicBezTo>
                  <a:pt x="1015320" y="2874962"/>
                  <a:pt x="1084263" y="2944260"/>
                  <a:pt x="1084263" y="3029744"/>
                </a:cubicBezTo>
                <a:cubicBezTo>
                  <a:pt x="1084263" y="3115228"/>
                  <a:pt x="1015320" y="3184526"/>
                  <a:pt x="930275" y="3184526"/>
                </a:cubicBezTo>
                <a:cubicBezTo>
                  <a:pt x="845230" y="3184526"/>
                  <a:pt x="776287" y="3115228"/>
                  <a:pt x="776287" y="3029744"/>
                </a:cubicBezTo>
                <a:cubicBezTo>
                  <a:pt x="776287" y="2944260"/>
                  <a:pt x="845230" y="2874962"/>
                  <a:pt x="930275" y="2874962"/>
                </a:cubicBezTo>
                <a:close/>
                <a:moveTo>
                  <a:pt x="122238" y="2844800"/>
                </a:moveTo>
                <a:lnTo>
                  <a:pt x="122238" y="2858922"/>
                </a:lnTo>
                <a:lnTo>
                  <a:pt x="122238" y="2919914"/>
                </a:lnTo>
                <a:lnTo>
                  <a:pt x="122238" y="2937881"/>
                </a:lnTo>
                <a:lnTo>
                  <a:pt x="122238" y="2976361"/>
                </a:lnTo>
                <a:lnTo>
                  <a:pt x="122238" y="2994458"/>
                </a:lnTo>
                <a:lnTo>
                  <a:pt x="122238" y="3016807"/>
                </a:lnTo>
                <a:lnTo>
                  <a:pt x="122238" y="3032384"/>
                </a:lnTo>
                <a:lnTo>
                  <a:pt x="122238" y="3043919"/>
                </a:lnTo>
                <a:lnTo>
                  <a:pt x="122238" y="3055388"/>
                </a:lnTo>
                <a:cubicBezTo>
                  <a:pt x="122238" y="3060983"/>
                  <a:pt x="122238" y="3064714"/>
                  <a:pt x="122238" y="3067200"/>
                </a:cubicBezTo>
                <a:lnTo>
                  <a:pt x="122238" y="3068809"/>
                </a:lnTo>
                <a:lnTo>
                  <a:pt x="122238" y="3072174"/>
                </a:lnTo>
                <a:cubicBezTo>
                  <a:pt x="122238" y="3154201"/>
                  <a:pt x="189194" y="3221038"/>
                  <a:pt x="268324" y="3221038"/>
                </a:cubicBezTo>
                <a:cubicBezTo>
                  <a:pt x="1589184" y="3221038"/>
                  <a:pt x="1589184" y="3221038"/>
                  <a:pt x="1589184" y="3221038"/>
                </a:cubicBezTo>
                <a:cubicBezTo>
                  <a:pt x="1671357" y="3221038"/>
                  <a:pt x="1738313" y="3154201"/>
                  <a:pt x="1738313" y="3072174"/>
                </a:cubicBezTo>
                <a:lnTo>
                  <a:pt x="1738313" y="2997250"/>
                </a:lnTo>
                <a:lnTo>
                  <a:pt x="1738313" y="2940804"/>
                </a:lnTo>
                <a:lnTo>
                  <a:pt x="1738313" y="2900358"/>
                </a:lnTo>
                <a:lnTo>
                  <a:pt x="1738313" y="2873246"/>
                </a:lnTo>
                <a:lnTo>
                  <a:pt x="1738313" y="2848356"/>
                </a:lnTo>
                <a:lnTo>
                  <a:pt x="1738313" y="2844800"/>
                </a:lnTo>
                <a:close/>
                <a:moveTo>
                  <a:pt x="122238" y="461963"/>
                </a:moveTo>
                <a:lnTo>
                  <a:pt x="122238" y="525582"/>
                </a:lnTo>
                <a:cubicBezTo>
                  <a:pt x="122238" y="1639716"/>
                  <a:pt x="122238" y="2266416"/>
                  <a:pt x="122238" y="2618936"/>
                </a:cubicBezTo>
                <a:lnTo>
                  <a:pt x="122238" y="2722563"/>
                </a:lnTo>
                <a:lnTo>
                  <a:pt x="169032" y="2722563"/>
                </a:lnTo>
                <a:cubicBezTo>
                  <a:pt x="1096639" y="2722563"/>
                  <a:pt x="1515558" y="2722563"/>
                  <a:pt x="1704747" y="2722563"/>
                </a:cubicBezTo>
                <a:lnTo>
                  <a:pt x="1738313" y="2722563"/>
                </a:lnTo>
                <a:lnTo>
                  <a:pt x="1738313" y="2521894"/>
                </a:lnTo>
                <a:cubicBezTo>
                  <a:pt x="1738313" y="1330298"/>
                  <a:pt x="1738313" y="769547"/>
                  <a:pt x="1738313" y="505665"/>
                </a:cubicBezTo>
                <a:lnTo>
                  <a:pt x="1738313" y="461963"/>
                </a:lnTo>
                <a:lnTo>
                  <a:pt x="1691518" y="461963"/>
                </a:lnTo>
                <a:cubicBezTo>
                  <a:pt x="763911" y="461963"/>
                  <a:pt x="344992" y="461963"/>
                  <a:pt x="155803" y="461963"/>
                </a:cubicBezTo>
                <a:close/>
                <a:moveTo>
                  <a:pt x="721442" y="169863"/>
                </a:moveTo>
                <a:cubicBezTo>
                  <a:pt x="1072433" y="169863"/>
                  <a:pt x="1072433" y="169863"/>
                  <a:pt x="1072433" y="169863"/>
                </a:cubicBezTo>
                <a:cubicBezTo>
                  <a:pt x="1106006" y="169863"/>
                  <a:pt x="1133475" y="197367"/>
                  <a:pt x="1133475" y="230982"/>
                </a:cubicBezTo>
                <a:cubicBezTo>
                  <a:pt x="1133475" y="264598"/>
                  <a:pt x="1106006" y="292101"/>
                  <a:pt x="1072433" y="292101"/>
                </a:cubicBezTo>
                <a:cubicBezTo>
                  <a:pt x="721442" y="292101"/>
                  <a:pt x="721442" y="292101"/>
                  <a:pt x="721442" y="292101"/>
                </a:cubicBezTo>
                <a:cubicBezTo>
                  <a:pt x="687869" y="292101"/>
                  <a:pt x="660400" y="264598"/>
                  <a:pt x="660400" y="230982"/>
                </a:cubicBezTo>
                <a:cubicBezTo>
                  <a:pt x="660400" y="197367"/>
                  <a:pt x="687869" y="169863"/>
                  <a:pt x="721442" y="169863"/>
                </a:cubicBezTo>
                <a:close/>
                <a:moveTo>
                  <a:pt x="1281907" y="149225"/>
                </a:moveTo>
                <a:cubicBezTo>
                  <a:pt x="1327060" y="149225"/>
                  <a:pt x="1363664" y="185118"/>
                  <a:pt x="1363664" y="229394"/>
                </a:cubicBezTo>
                <a:cubicBezTo>
                  <a:pt x="1363664" y="273670"/>
                  <a:pt x="1327060" y="309563"/>
                  <a:pt x="1281907" y="309563"/>
                </a:cubicBezTo>
                <a:cubicBezTo>
                  <a:pt x="1236754" y="309563"/>
                  <a:pt x="1200150" y="273670"/>
                  <a:pt x="1200150" y="229394"/>
                </a:cubicBezTo>
                <a:cubicBezTo>
                  <a:pt x="1200150" y="185118"/>
                  <a:pt x="1236754" y="149225"/>
                  <a:pt x="1281907" y="149225"/>
                </a:cubicBezTo>
                <a:close/>
                <a:moveTo>
                  <a:pt x="268324" y="122238"/>
                </a:moveTo>
                <a:cubicBezTo>
                  <a:pt x="189194" y="122238"/>
                  <a:pt x="122238" y="189178"/>
                  <a:pt x="122238" y="271331"/>
                </a:cubicBezTo>
                <a:lnTo>
                  <a:pt x="122238" y="341313"/>
                </a:lnTo>
                <a:cubicBezTo>
                  <a:pt x="1738313" y="341313"/>
                  <a:pt x="1738313" y="341313"/>
                  <a:pt x="1738313" y="341313"/>
                </a:cubicBezTo>
                <a:lnTo>
                  <a:pt x="1738313" y="314869"/>
                </a:lnTo>
                <a:lnTo>
                  <a:pt x="1738313" y="300855"/>
                </a:lnTo>
                <a:lnTo>
                  <a:pt x="1738313" y="289566"/>
                </a:lnTo>
                <a:lnTo>
                  <a:pt x="1738313" y="280079"/>
                </a:lnTo>
                <a:lnTo>
                  <a:pt x="1738313" y="276573"/>
                </a:lnTo>
                <a:lnTo>
                  <a:pt x="1738313" y="271331"/>
                </a:lnTo>
                <a:cubicBezTo>
                  <a:pt x="1738313" y="189178"/>
                  <a:pt x="1671357" y="122238"/>
                  <a:pt x="1589184" y="122238"/>
                </a:cubicBezTo>
                <a:lnTo>
                  <a:pt x="1469183" y="122238"/>
                </a:lnTo>
                <a:lnTo>
                  <a:pt x="1356679" y="122238"/>
                </a:lnTo>
                <a:lnTo>
                  <a:pt x="1153197" y="122238"/>
                </a:lnTo>
                <a:lnTo>
                  <a:pt x="976803" y="122238"/>
                </a:lnTo>
                <a:lnTo>
                  <a:pt x="825562" y="122238"/>
                </a:lnTo>
                <a:lnTo>
                  <a:pt x="697539" y="122238"/>
                </a:lnTo>
                <a:lnTo>
                  <a:pt x="590799" y="122238"/>
                </a:lnTo>
                <a:lnTo>
                  <a:pt x="503408" y="122238"/>
                </a:lnTo>
                <a:lnTo>
                  <a:pt x="433431" y="122238"/>
                </a:lnTo>
                <a:lnTo>
                  <a:pt x="378933" y="122238"/>
                </a:lnTo>
                <a:lnTo>
                  <a:pt x="337979" y="122238"/>
                </a:lnTo>
                <a:lnTo>
                  <a:pt x="308633" y="122238"/>
                </a:lnTo>
                <a:lnTo>
                  <a:pt x="288962" y="122238"/>
                </a:lnTo>
                <a:lnTo>
                  <a:pt x="277031" y="122238"/>
                </a:lnTo>
                <a:lnTo>
                  <a:pt x="270904" y="122238"/>
                </a:lnTo>
                <a:close/>
                <a:moveTo>
                  <a:pt x="267968" y="0"/>
                </a:moveTo>
                <a:cubicBezTo>
                  <a:pt x="1589537" y="0"/>
                  <a:pt x="1589537" y="0"/>
                  <a:pt x="1589537" y="0"/>
                </a:cubicBezTo>
                <a:cubicBezTo>
                  <a:pt x="1738747" y="0"/>
                  <a:pt x="1860550" y="121569"/>
                  <a:pt x="1860550" y="270492"/>
                </a:cubicBezTo>
                <a:lnTo>
                  <a:pt x="1860550" y="270501"/>
                </a:lnTo>
                <a:lnTo>
                  <a:pt x="1860550" y="461963"/>
                </a:lnTo>
                <a:lnTo>
                  <a:pt x="1860550" y="525090"/>
                </a:lnTo>
                <a:cubicBezTo>
                  <a:pt x="1860550" y="1639702"/>
                  <a:pt x="1860550" y="2266671"/>
                  <a:pt x="1860550" y="2619341"/>
                </a:cubicBezTo>
                <a:lnTo>
                  <a:pt x="1860550" y="2722563"/>
                </a:lnTo>
                <a:lnTo>
                  <a:pt x="1860550" y="2754314"/>
                </a:lnTo>
                <a:lnTo>
                  <a:pt x="1860550" y="2838062"/>
                </a:lnTo>
                <a:lnTo>
                  <a:pt x="1860550" y="2859431"/>
                </a:lnTo>
                <a:lnTo>
                  <a:pt x="1860550" y="2924856"/>
                </a:lnTo>
                <a:lnTo>
                  <a:pt x="1860550" y="2938424"/>
                </a:lnTo>
                <a:lnTo>
                  <a:pt x="1860550" y="2987047"/>
                </a:lnTo>
                <a:lnTo>
                  <a:pt x="1860550" y="2995025"/>
                </a:lnTo>
                <a:lnTo>
                  <a:pt x="1860550" y="3028736"/>
                </a:lnTo>
                <a:lnTo>
                  <a:pt x="1860550" y="3032967"/>
                </a:lnTo>
                <a:lnTo>
                  <a:pt x="1860550" y="3054023"/>
                </a:lnTo>
                <a:lnTo>
                  <a:pt x="1860550" y="3055980"/>
                </a:lnTo>
                <a:lnTo>
                  <a:pt x="1860550" y="3067008"/>
                </a:lnTo>
                <a:lnTo>
                  <a:pt x="1860550" y="3067798"/>
                </a:lnTo>
                <a:lnTo>
                  <a:pt x="1860550" y="3072475"/>
                </a:lnTo>
                <a:lnTo>
                  <a:pt x="1860550" y="3072774"/>
                </a:lnTo>
                <a:cubicBezTo>
                  <a:pt x="1860550" y="3184470"/>
                  <a:pt x="1792036" y="3280779"/>
                  <a:pt x="1694831" y="3321952"/>
                </a:cubicBezTo>
                <a:lnTo>
                  <a:pt x="1593989" y="3342374"/>
                </a:lnTo>
                <a:lnTo>
                  <a:pt x="1589537" y="3343276"/>
                </a:lnTo>
                <a:cubicBezTo>
                  <a:pt x="267968" y="3343276"/>
                  <a:pt x="267968" y="3343276"/>
                  <a:pt x="267968" y="3343276"/>
                </a:cubicBezTo>
                <a:lnTo>
                  <a:pt x="263590" y="3342374"/>
                </a:lnTo>
                <a:lnTo>
                  <a:pt x="164435" y="3321952"/>
                </a:lnTo>
                <a:cubicBezTo>
                  <a:pt x="68515" y="3280779"/>
                  <a:pt x="0" y="3184470"/>
                  <a:pt x="0" y="3072774"/>
                </a:cubicBezTo>
                <a:lnTo>
                  <a:pt x="0" y="3072475"/>
                </a:lnTo>
                <a:lnTo>
                  <a:pt x="0" y="2956977"/>
                </a:lnTo>
                <a:lnTo>
                  <a:pt x="0" y="2870182"/>
                </a:lnTo>
                <a:lnTo>
                  <a:pt x="0" y="2807991"/>
                </a:lnTo>
                <a:lnTo>
                  <a:pt x="0" y="2787491"/>
                </a:lnTo>
                <a:lnTo>
                  <a:pt x="0" y="2766302"/>
                </a:lnTo>
                <a:lnTo>
                  <a:pt x="0" y="2741016"/>
                </a:lnTo>
                <a:lnTo>
                  <a:pt x="0" y="2728031"/>
                </a:lnTo>
                <a:lnTo>
                  <a:pt x="0" y="2722563"/>
                </a:lnTo>
                <a:lnTo>
                  <a:pt x="0" y="2522258"/>
                </a:lnTo>
                <a:cubicBezTo>
                  <a:pt x="0" y="1330151"/>
                  <a:pt x="0" y="769160"/>
                  <a:pt x="0" y="505164"/>
                </a:cubicBezTo>
                <a:lnTo>
                  <a:pt x="0" y="461963"/>
                </a:lnTo>
                <a:lnTo>
                  <a:pt x="0" y="418277"/>
                </a:lnTo>
                <a:lnTo>
                  <a:pt x="0" y="398763"/>
                </a:lnTo>
                <a:lnTo>
                  <a:pt x="0" y="356020"/>
                </a:lnTo>
                <a:lnTo>
                  <a:pt x="0" y="351269"/>
                </a:lnTo>
                <a:lnTo>
                  <a:pt x="0" y="314287"/>
                </a:lnTo>
                <a:lnTo>
                  <a:pt x="0" y="294426"/>
                </a:lnTo>
                <a:lnTo>
                  <a:pt x="0" y="288973"/>
                </a:lnTo>
                <a:cubicBezTo>
                  <a:pt x="0" y="282816"/>
                  <a:pt x="0" y="278711"/>
                  <a:pt x="0" y="275975"/>
                </a:cubicBezTo>
                <a:lnTo>
                  <a:pt x="0" y="273484"/>
                </a:lnTo>
                <a:lnTo>
                  <a:pt x="0" y="270501"/>
                </a:lnTo>
                <a:lnTo>
                  <a:pt x="0" y="270492"/>
                </a:lnTo>
                <a:cubicBezTo>
                  <a:pt x="0" y="121569"/>
                  <a:pt x="121804" y="0"/>
                  <a:pt x="267968"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4072504432"/>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6" name="Picture 135" descr="bar, business, conference"/>
          <p:cNvPicPr>
            <a:picLocks noChangeAspect="1" noChangeArrowheads="1"/>
          </p:cNvPicPr>
          <p:nvPr/>
        </p:nvPicPr>
        <p:blipFill rotWithShape="1">
          <a:blip r:embed="rId5">
            <a:extLst>
              <a:ext uri="{28A0092B-C50C-407E-A947-70E740481C1C}">
                <a14:useLocalDpi xmlns:a14="http://schemas.microsoft.com/office/drawing/2010/main" val="0"/>
              </a:ext>
            </a:extLst>
          </a:blip>
          <a:srcRect t="19642" b="27019"/>
          <a:stretch/>
        </p:blipFill>
        <p:spPr bwMode="auto">
          <a:xfrm>
            <a:off x="0" y="3"/>
            <a:ext cx="12192000" cy="4296229"/>
          </a:xfrm>
          <a:custGeom>
            <a:avLst/>
            <a:gdLst>
              <a:gd name="connsiteX0" fmla="*/ 0 w 12192000"/>
              <a:gd name="connsiteY0" fmla="*/ 0 h 4296229"/>
              <a:gd name="connsiteX1" fmla="*/ 12192000 w 12192000"/>
              <a:gd name="connsiteY1" fmla="*/ 0 h 4296229"/>
              <a:gd name="connsiteX2" fmla="*/ 12192000 w 12192000"/>
              <a:gd name="connsiteY2" fmla="*/ 4296229 h 4296229"/>
              <a:gd name="connsiteX3" fmla="*/ 0 w 12192000"/>
              <a:gd name="connsiteY3" fmla="*/ 4296229 h 4296229"/>
            </a:gdLst>
            <a:ahLst/>
            <a:cxnLst>
              <a:cxn ang="0">
                <a:pos x="connsiteX0" y="connsiteY0"/>
              </a:cxn>
              <a:cxn ang="0">
                <a:pos x="connsiteX1" y="connsiteY1"/>
              </a:cxn>
              <a:cxn ang="0">
                <a:pos x="connsiteX2" y="connsiteY2"/>
              </a:cxn>
              <a:cxn ang="0">
                <a:pos x="connsiteX3" y="connsiteY3"/>
              </a:cxn>
            </a:cxnLst>
            <a:rect l="l" t="t" r="r" b="b"/>
            <a:pathLst>
              <a:path w="12192000" h="4296229">
                <a:moveTo>
                  <a:pt x="0" y="0"/>
                </a:moveTo>
                <a:lnTo>
                  <a:pt x="12192000" y="0"/>
                </a:lnTo>
                <a:lnTo>
                  <a:pt x="12192000" y="4296229"/>
                </a:lnTo>
                <a:lnTo>
                  <a:pt x="0" y="4296229"/>
                </a:lnTo>
                <a:close/>
              </a:path>
            </a:pathLst>
          </a:custGeom>
          <a:noFill/>
          <a:extLst>
            <a:ext uri="{909E8E84-426E-40DD-AFC4-6F175D3DCCD1}">
              <a14:hiddenFill xmlns:a14="http://schemas.microsoft.com/office/drawing/2010/main">
                <a:solidFill>
                  <a:srgbClr val="FFFFFF"/>
                </a:solidFill>
              </a14:hiddenFill>
            </a:ext>
          </a:extLst>
        </p:spPr>
      </p:pic>
      <p:sp>
        <p:nvSpPr>
          <p:cNvPr id="179" name="Rectangle 178"/>
          <p:cNvSpPr/>
          <p:nvPr/>
        </p:nvSpPr>
        <p:spPr>
          <a:xfrm>
            <a:off x="0" y="0"/>
            <a:ext cx="12192000" cy="4296229"/>
          </a:xfrm>
          <a:prstGeom prst="rect">
            <a:avLst/>
          </a:prstGeom>
          <a:solidFill>
            <a:schemeClr val="tx1">
              <a:alpha val="60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aphicFrame>
        <p:nvGraphicFramePr>
          <p:cNvPr id="20" name="Object 19" hidden="1"/>
          <p:cNvGraphicFramePr>
            <a:graphicFrameLocks noChangeAspect="1"/>
          </p:cNvGraphicFramePr>
          <p:nvPr>
            <p:custDataLst>
              <p:tags r:id="rId2"/>
            </p:custDataLst>
            <p:extLst/>
          </p:nvPr>
        </p:nvGraphicFramePr>
        <p:xfrm>
          <a:off x="4765" y="2483"/>
          <a:ext cx="1587" cy="1587"/>
        </p:xfrm>
        <a:graphic>
          <a:graphicData uri="http://schemas.openxmlformats.org/presentationml/2006/ole">
            <mc:AlternateContent xmlns:mc="http://schemas.openxmlformats.org/markup-compatibility/2006">
              <mc:Choice xmlns:v="urn:schemas-microsoft-com:vml" Requires="v">
                <p:oleObj spid="_x0000_s41002" name="think-cell Slide" r:id="rId6" imgW="270" imgH="270" progId="TCLayout.ActiveDocument.1">
                  <p:embed/>
                </p:oleObj>
              </mc:Choice>
              <mc:Fallback>
                <p:oleObj name="think-cell Slide" r:id="rId6" imgW="270" imgH="270" progId="TCLayout.ActiveDocument.1">
                  <p:embed/>
                  <p:pic>
                    <p:nvPicPr>
                      <p:cNvPr id="20" name="Object 19" hidden="1"/>
                      <p:cNvPicPr/>
                      <p:nvPr/>
                    </p:nvPicPr>
                    <p:blipFill>
                      <a:blip r:embed="rId7"/>
                      <a:stretch>
                        <a:fillRect/>
                      </a:stretch>
                    </p:blipFill>
                    <p:spPr>
                      <a:xfrm>
                        <a:off x="4765" y="2483"/>
                        <a:ext cx="1587" cy="1587"/>
                      </a:xfrm>
                      <a:prstGeom prst="rect">
                        <a:avLst/>
                      </a:prstGeom>
                    </p:spPr>
                  </p:pic>
                </p:oleObj>
              </mc:Fallback>
            </mc:AlternateContent>
          </a:graphicData>
        </a:graphic>
      </p:graphicFrame>
      <p:sp>
        <p:nvSpPr>
          <p:cNvPr id="12" name="Title 11"/>
          <p:cNvSpPr>
            <a:spLocks noGrp="1"/>
          </p:cNvSpPr>
          <p:nvPr>
            <p:ph type="title"/>
          </p:nvPr>
        </p:nvSpPr>
        <p:spPr/>
        <p:txBody>
          <a:bodyPr/>
          <a:lstStyle/>
          <a:p>
            <a:r>
              <a:rPr lang="en-US">
                <a:solidFill>
                  <a:schemeClr val="bg1"/>
                </a:solidFill>
              </a:rPr>
              <a:t>CAPABILITIES</a:t>
            </a:r>
          </a:p>
        </p:txBody>
      </p:sp>
      <p:sp>
        <p:nvSpPr>
          <p:cNvPr id="168" name="Footer Placeholder 2"/>
          <p:cNvSpPr>
            <a:spLocks noGrp="1"/>
          </p:cNvSpPr>
          <p:nvPr>
            <p:ph type="ftr" sz="quarter" idx="3"/>
          </p:nvPr>
        </p:nvSpPr>
        <p:spPr>
          <a:xfrm>
            <a:off x="4038600" y="6253029"/>
            <a:ext cx="4114800" cy="21945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ysClr val="windowText" lastClr="000000"/>
                </a:solidFill>
                <a:effectLst/>
                <a:uLnTx/>
                <a:uFillTx/>
                <a:latin typeface="Segoe UI"/>
                <a:ea typeface="+mn-ea"/>
                <a:cs typeface="+mn-cs"/>
              </a:rPr>
              <a:t>Confidential</a:t>
            </a:r>
          </a:p>
        </p:txBody>
      </p:sp>
      <p:sp>
        <p:nvSpPr>
          <p:cNvPr id="169" name="Slide Number Placeholder 3"/>
          <p:cNvSpPr>
            <a:spLocks noGrp="1"/>
          </p:cNvSpPr>
          <p:nvPr>
            <p:ph type="sldNum" sz="quarter" idx="4"/>
          </p:nvPr>
        </p:nvSpPr>
        <p:spPr>
          <a:xfrm>
            <a:off x="1023938" y="6253028"/>
            <a:ext cx="560832" cy="219456"/>
          </a:xfrm>
        </p:spPr>
        <p:txBody>
          <a:bodyPr/>
          <a:lstStyle/>
          <a:p>
            <a:pPr marL="0" marR="0" lvl="0" indent="0" algn="l" defTabSz="914363" rtl="0" eaLnBrk="1" fontAlgn="auto" latinLnBrk="0" hangingPunct="1">
              <a:lnSpc>
                <a:spcPct val="100000"/>
              </a:lnSpc>
              <a:spcBef>
                <a:spcPts val="0"/>
              </a:spcBef>
              <a:spcAft>
                <a:spcPts val="0"/>
              </a:spcAft>
              <a:buClrTx/>
              <a:buSzTx/>
              <a:buFontTx/>
              <a:buNone/>
              <a:tabLst/>
              <a:defRPr/>
            </a:pPr>
            <a:fld id="{727B4C2D-45E2-4621-8491-2995EB46A674}" type="slidenum">
              <a:rPr kumimoji="0" lang="en-US" sz="800" b="0" i="0" u="none" strike="noStrike" kern="0" cap="none" spc="0" normalizeH="0" baseline="0" noProof="0" smtClean="0">
                <a:ln>
                  <a:noFill/>
                </a:ln>
                <a:solidFill>
                  <a:sysClr val="windowText" lastClr="000000"/>
                </a:solidFill>
                <a:effectLst/>
                <a:uLnTx/>
                <a:uFillTx/>
                <a:latin typeface="Segoe UI"/>
                <a:ea typeface="+mn-ea"/>
                <a:cs typeface="+mn-cs"/>
              </a:rPr>
              <a:pPr marL="0" marR="0" lvl="0" indent="0" algn="l" defTabSz="914363" rtl="0" eaLnBrk="1" fontAlgn="auto" latinLnBrk="0" hangingPunct="1">
                <a:lnSpc>
                  <a:spcPct val="100000"/>
                </a:lnSpc>
                <a:spcBef>
                  <a:spcPts val="0"/>
                </a:spcBef>
                <a:spcAft>
                  <a:spcPts val="0"/>
                </a:spcAft>
                <a:buClrTx/>
                <a:buSzTx/>
                <a:buFontTx/>
                <a:buNone/>
                <a:tabLst/>
                <a:defRPr/>
              </a:pPr>
              <a:t>5</a:t>
            </a:fld>
            <a:endParaRPr kumimoji="0" lang="en-US" sz="800" b="0" i="0" u="none" strike="noStrike" kern="0" cap="none" spc="0" normalizeH="0" baseline="0" noProof="0">
              <a:ln>
                <a:noFill/>
              </a:ln>
              <a:solidFill>
                <a:sysClr val="windowText" lastClr="000000"/>
              </a:solidFill>
              <a:effectLst/>
              <a:uLnTx/>
              <a:uFillTx/>
              <a:latin typeface="Segoe UI"/>
              <a:ea typeface="+mn-ea"/>
              <a:cs typeface="+mn-cs"/>
            </a:endParaRPr>
          </a:p>
        </p:txBody>
      </p:sp>
      <p:grpSp>
        <p:nvGrpSpPr>
          <p:cNvPr id="152" name="Group 151">
            <a:extLst>
              <a:ext uri="{FF2B5EF4-FFF2-40B4-BE49-F238E27FC236}">
                <a16:creationId xmlns:a16="http://schemas.microsoft.com/office/drawing/2014/main" id="{037AEB73-6D3E-4D11-9319-4C9BBD98A655}"/>
              </a:ext>
            </a:extLst>
          </p:cNvPr>
          <p:cNvGrpSpPr/>
          <p:nvPr/>
        </p:nvGrpSpPr>
        <p:grpSpPr>
          <a:xfrm>
            <a:off x="520089" y="3592002"/>
            <a:ext cx="11151823" cy="1928589"/>
            <a:chOff x="512274" y="3499641"/>
            <a:chExt cx="11151823" cy="1928589"/>
          </a:xfrm>
        </p:grpSpPr>
        <p:grpSp>
          <p:nvGrpSpPr>
            <p:cNvPr id="172" name="Group 171">
              <a:extLst>
                <a:ext uri="{FF2B5EF4-FFF2-40B4-BE49-F238E27FC236}">
                  <a16:creationId xmlns:a16="http://schemas.microsoft.com/office/drawing/2014/main" id="{3E28F5E4-5FEA-4C19-A6D3-3FCDD959D560}"/>
                </a:ext>
              </a:extLst>
            </p:cNvPr>
            <p:cNvGrpSpPr/>
            <p:nvPr/>
          </p:nvGrpSpPr>
          <p:grpSpPr>
            <a:xfrm>
              <a:off x="512274" y="4796474"/>
              <a:ext cx="11151823" cy="631756"/>
              <a:chOff x="512274" y="4796474"/>
              <a:chExt cx="11151823" cy="631756"/>
            </a:xfrm>
          </p:grpSpPr>
          <p:sp>
            <p:nvSpPr>
              <p:cNvPr id="257" name="Rectangle 256">
                <a:extLst>
                  <a:ext uri="{FF2B5EF4-FFF2-40B4-BE49-F238E27FC236}">
                    <a16:creationId xmlns:a16="http://schemas.microsoft.com/office/drawing/2014/main" id="{A7B7011D-7952-4636-AAAD-841B754DB0FA}"/>
                  </a:ext>
                </a:extLst>
              </p:cNvPr>
              <p:cNvSpPr/>
              <p:nvPr/>
            </p:nvSpPr>
            <p:spPr>
              <a:xfrm>
                <a:off x="512274" y="4841714"/>
                <a:ext cx="1143000" cy="541276"/>
              </a:xfrm>
              <a:prstGeom prst="rect">
                <a:avLst/>
              </a:prstGeom>
              <a:noFill/>
            </p:spPr>
            <p:txBody>
              <a:bodyPr wrap="square" lIns="73152" rIns="73152" anchor="ctr" anchorCtr="0">
                <a:no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55B8"/>
                    </a:solidFill>
                    <a:effectLst/>
                    <a:uLnTx/>
                    <a:uFillTx/>
                    <a:latin typeface="Segoe UI Semibold" panose="020B0702040204020203" pitchFamily="34" charset="0"/>
                    <a:ea typeface="+mn-ea"/>
                    <a:cs typeface="Segoe UI Semibold" panose="020B0702040204020203" pitchFamily="34" charset="0"/>
                  </a:rPr>
                  <a:t>Cloud</a:t>
                </a:r>
              </a:p>
            </p:txBody>
          </p:sp>
          <p:sp>
            <p:nvSpPr>
              <p:cNvPr id="259" name="Rectangle 258">
                <a:extLst>
                  <a:ext uri="{FF2B5EF4-FFF2-40B4-BE49-F238E27FC236}">
                    <a16:creationId xmlns:a16="http://schemas.microsoft.com/office/drawing/2014/main" id="{DFF6F7A7-FC68-42CB-8F54-F8C3A69D29E6}"/>
                  </a:ext>
                </a:extLst>
              </p:cNvPr>
              <p:cNvSpPr/>
              <p:nvPr/>
            </p:nvSpPr>
            <p:spPr>
              <a:xfrm>
                <a:off x="6231602" y="4796474"/>
                <a:ext cx="1143000" cy="631756"/>
              </a:xfrm>
              <a:prstGeom prst="rect">
                <a:avLst/>
              </a:prstGeom>
              <a:noFill/>
            </p:spPr>
            <p:txBody>
              <a:bodyPr wrap="square" lIns="73152" rIns="73152" anchor="ctr" anchorCtr="0">
                <a:no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55B8"/>
                    </a:solidFill>
                    <a:effectLst/>
                    <a:uLnTx/>
                    <a:uFillTx/>
                    <a:latin typeface="Segoe UI Semibold" panose="020B0702040204020203" pitchFamily="34" charset="0"/>
                    <a:ea typeface="+mn-ea"/>
                    <a:cs typeface="Segoe UI Semibold" panose="020B0702040204020203" pitchFamily="34" charset="0"/>
                  </a:rPr>
                  <a:t>Digital Insights</a:t>
                </a:r>
              </a:p>
            </p:txBody>
          </p:sp>
          <p:sp>
            <p:nvSpPr>
              <p:cNvPr id="273" name="Rectangle 272">
                <a:extLst>
                  <a:ext uri="{FF2B5EF4-FFF2-40B4-BE49-F238E27FC236}">
                    <a16:creationId xmlns:a16="http://schemas.microsoft.com/office/drawing/2014/main" id="{0C311A41-16C4-47FF-BD38-E3638D372BFA}"/>
                  </a:ext>
                </a:extLst>
              </p:cNvPr>
              <p:cNvSpPr/>
              <p:nvPr/>
            </p:nvSpPr>
            <p:spPr>
              <a:xfrm>
                <a:off x="7580551" y="4796474"/>
                <a:ext cx="1304766" cy="631756"/>
              </a:xfrm>
              <a:prstGeom prst="rect">
                <a:avLst/>
              </a:prstGeom>
              <a:noFill/>
            </p:spPr>
            <p:txBody>
              <a:bodyPr wrap="square" lIns="73152" rIns="73152" anchor="ctr" anchorCtr="0">
                <a:no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55B8"/>
                    </a:solidFill>
                    <a:effectLst/>
                    <a:uLnTx/>
                    <a:uFillTx/>
                    <a:latin typeface="Segoe UI Semibold" panose="020B0702040204020203" pitchFamily="34" charset="0"/>
                    <a:ea typeface="+mn-ea"/>
                    <a:cs typeface="Segoe UI Semibold" panose="020B0702040204020203" pitchFamily="34" charset="0"/>
                  </a:rPr>
                  <a:t>App Development</a:t>
                </a:r>
              </a:p>
            </p:txBody>
          </p:sp>
          <p:sp>
            <p:nvSpPr>
              <p:cNvPr id="283" name="Rectangle 282">
                <a:extLst>
                  <a:ext uri="{FF2B5EF4-FFF2-40B4-BE49-F238E27FC236}">
                    <a16:creationId xmlns:a16="http://schemas.microsoft.com/office/drawing/2014/main" id="{D00E376A-19E3-4EAC-8A26-686520A63888}"/>
                  </a:ext>
                </a:extLst>
              </p:cNvPr>
              <p:cNvSpPr/>
              <p:nvPr/>
            </p:nvSpPr>
            <p:spPr>
              <a:xfrm>
                <a:off x="4801770" y="4796474"/>
                <a:ext cx="1143000" cy="631756"/>
              </a:xfrm>
              <a:prstGeom prst="rect">
                <a:avLst/>
              </a:prstGeom>
              <a:noFill/>
            </p:spPr>
            <p:txBody>
              <a:bodyPr wrap="square" lIns="73152" rIns="73152" anchor="ctr" anchorCtr="0">
                <a:no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55B8"/>
                    </a:solidFill>
                    <a:effectLst/>
                    <a:uLnTx/>
                    <a:uFillTx/>
                    <a:latin typeface="Segoe UI Semibold" panose="020B0702040204020203" pitchFamily="34" charset="0"/>
                    <a:ea typeface="+mn-ea"/>
                    <a:cs typeface="Segoe UI Semibold" panose="020B0702040204020203" pitchFamily="34" charset="0"/>
                  </a:rPr>
                  <a:t>Business Solutions</a:t>
                </a:r>
              </a:p>
            </p:txBody>
          </p:sp>
          <p:sp>
            <p:nvSpPr>
              <p:cNvPr id="284" name="Rectangle 283">
                <a:extLst>
                  <a:ext uri="{FF2B5EF4-FFF2-40B4-BE49-F238E27FC236}">
                    <a16:creationId xmlns:a16="http://schemas.microsoft.com/office/drawing/2014/main" id="{7803C7FF-4737-4DE5-B185-2A81FAF7F914}"/>
                  </a:ext>
                </a:extLst>
              </p:cNvPr>
              <p:cNvSpPr/>
              <p:nvPr/>
            </p:nvSpPr>
            <p:spPr>
              <a:xfrm>
                <a:off x="10521097" y="4796474"/>
                <a:ext cx="1143000" cy="631756"/>
              </a:xfrm>
              <a:prstGeom prst="rect">
                <a:avLst/>
              </a:prstGeom>
              <a:noFill/>
            </p:spPr>
            <p:txBody>
              <a:bodyPr wrap="square" lIns="73152" rIns="73152" anchor="ctr" anchorCtr="0">
                <a:no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55B8"/>
                    </a:solidFill>
                    <a:effectLst/>
                    <a:uLnTx/>
                    <a:uFillTx/>
                    <a:latin typeface="Segoe UI Semibold" panose="020B0702040204020203" pitchFamily="34" charset="0"/>
                    <a:ea typeface="+mn-ea"/>
                    <a:cs typeface="Segoe UI Semibold" panose="020B0702040204020203" pitchFamily="34" charset="0"/>
                  </a:rPr>
                  <a:t>Immersive</a:t>
                </a:r>
                <a:br>
                  <a:rPr kumimoji="0" lang="en-US" sz="1400" b="0" i="0" u="none" strike="noStrike" kern="0" cap="none" spc="0" normalizeH="0" baseline="0" noProof="0">
                    <a:ln>
                      <a:noFill/>
                    </a:ln>
                    <a:solidFill>
                      <a:srgbClr val="0055B8"/>
                    </a:solidFill>
                    <a:effectLst/>
                    <a:uLnTx/>
                    <a:uFillTx/>
                    <a:latin typeface="Segoe UI Semibold" panose="020B0702040204020203" pitchFamily="34" charset="0"/>
                    <a:ea typeface="+mn-ea"/>
                    <a:cs typeface="Segoe UI Semibold" panose="020B0702040204020203" pitchFamily="34" charset="0"/>
                  </a:rPr>
                </a:br>
                <a:r>
                  <a:rPr kumimoji="0" lang="en-US" sz="1400" b="0" i="0" u="none" strike="noStrike" kern="0" cap="none" spc="0" normalizeH="0" baseline="0" noProof="0">
                    <a:ln>
                      <a:noFill/>
                    </a:ln>
                    <a:solidFill>
                      <a:srgbClr val="0055B8"/>
                    </a:solidFill>
                    <a:effectLst/>
                    <a:uLnTx/>
                    <a:uFillTx/>
                    <a:latin typeface="Segoe UI Semibold" panose="020B0702040204020203" pitchFamily="34" charset="0"/>
                    <a:ea typeface="+mn-ea"/>
                    <a:cs typeface="Segoe UI Semibold" panose="020B0702040204020203" pitchFamily="34" charset="0"/>
                  </a:rPr>
                  <a:t>Experiences</a:t>
                </a:r>
              </a:p>
            </p:txBody>
          </p:sp>
          <p:sp>
            <p:nvSpPr>
              <p:cNvPr id="285" name="Rectangle 284">
                <a:extLst>
                  <a:ext uri="{FF2B5EF4-FFF2-40B4-BE49-F238E27FC236}">
                    <a16:creationId xmlns:a16="http://schemas.microsoft.com/office/drawing/2014/main" id="{1895D5EC-526D-4DBD-AECE-9BEDA7C69AFF}"/>
                  </a:ext>
                </a:extLst>
              </p:cNvPr>
              <p:cNvSpPr/>
              <p:nvPr/>
            </p:nvSpPr>
            <p:spPr>
              <a:xfrm>
                <a:off x="1942106" y="4950568"/>
                <a:ext cx="1143000" cy="323569"/>
              </a:xfrm>
              <a:prstGeom prst="rect">
                <a:avLst/>
              </a:prstGeom>
              <a:noFill/>
            </p:spPr>
            <p:txBody>
              <a:bodyPr wrap="square" lIns="73152" rIns="73152" anchor="ctr" anchorCtr="0">
                <a:no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55B8"/>
                    </a:solidFill>
                    <a:effectLst/>
                    <a:uLnTx/>
                    <a:uFillTx/>
                    <a:latin typeface="Segoe UI Semibold" panose="020B0702040204020203" pitchFamily="34" charset="0"/>
                    <a:ea typeface="+mn-ea"/>
                    <a:cs typeface="Segoe UI Semibold" panose="020B0702040204020203" pitchFamily="34" charset="0"/>
                  </a:rPr>
                  <a:t>Security</a:t>
                </a:r>
              </a:p>
            </p:txBody>
          </p:sp>
          <p:sp>
            <p:nvSpPr>
              <p:cNvPr id="286" name="Rectangle 285">
                <a:extLst>
                  <a:ext uri="{FF2B5EF4-FFF2-40B4-BE49-F238E27FC236}">
                    <a16:creationId xmlns:a16="http://schemas.microsoft.com/office/drawing/2014/main" id="{1FF54EA9-ACC7-4DE5-A53B-7E7E10D01521}"/>
                  </a:ext>
                </a:extLst>
              </p:cNvPr>
              <p:cNvSpPr/>
              <p:nvPr/>
            </p:nvSpPr>
            <p:spPr>
              <a:xfrm>
                <a:off x="3371938" y="4897014"/>
                <a:ext cx="1143000" cy="430676"/>
              </a:xfrm>
              <a:prstGeom prst="rect">
                <a:avLst/>
              </a:prstGeom>
              <a:noFill/>
            </p:spPr>
            <p:txBody>
              <a:bodyPr wrap="square" lIns="73152" rIns="73152" anchor="ctr" anchorCtr="0">
                <a:no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lang="en-US" sz="1400" kern="0">
                    <a:solidFill>
                      <a:srgbClr val="0055B8"/>
                    </a:solidFill>
                    <a:latin typeface="Segoe UI Semibold" panose="020B0702040204020203" pitchFamily="34" charset="0"/>
                    <a:cs typeface="Segoe UI Semibold" panose="020B0702040204020203" pitchFamily="34" charset="0"/>
                  </a:rPr>
                  <a:t>Digital</a:t>
                </a:r>
                <a:br>
                  <a:rPr lang="en-US" sz="1400" kern="0">
                    <a:solidFill>
                      <a:srgbClr val="0055B8"/>
                    </a:solidFill>
                    <a:latin typeface="Segoe UI Semibold" panose="020B0702040204020203" pitchFamily="34" charset="0"/>
                    <a:cs typeface="Segoe UI Semibold" panose="020B0702040204020203" pitchFamily="34" charset="0"/>
                  </a:rPr>
                </a:br>
                <a:r>
                  <a:rPr kumimoji="0" lang="en-US" sz="1400" b="0" i="0" u="none" strike="noStrike" kern="0" cap="none" spc="0" normalizeH="0" baseline="0" noProof="0">
                    <a:ln>
                      <a:noFill/>
                    </a:ln>
                    <a:solidFill>
                      <a:srgbClr val="0055B8"/>
                    </a:solidFill>
                    <a:effectLst/>
                    <a:uLnTx/>
                    <a:uFillTx/>
                    <a:latin typeface="Segoe UI Semibold" panose="020B0702040204020203" pitchFamily="34" charset="0"/>
                    <a:ea typeface="+mn-ea"/>
                    <a:cs typeface="Segoe UI Semibold" panose="020B0702040204020203" pitchFamily="34" charset="0"/>
                  </a:rPr>
                  <a:t>Strategy</a:t>
                </a:r>
              </a:p>
            </p:txBody>
          </p:sp>
          <p:sp>
            <p:nvSpPr>
              <p:cNvPr id="287" name="Rectangle 286">
                <a:extLst>
                  <a:ext uri="{FF2B5EF4-FFF2-40B4-BE49-F238E27FC236}">
                    <a16:creationId xmlns:a16="http://schemas.microsoft.com/office/drawing/2014/main" id="{04B509DE-E970-4ECC-B993-1E21659EED72}"/>
                  </a:ext>
                </a:extLst>
              </p:cNvPr>
              <p:cNvSpPr/>
              <p:nvPr/>
            </p:nvSpPr>
            <p:spPr>
              <a:xfrm>
                <a:off x="9091266" y="4796474"/>
                <a:ext cx="1143000" cy="631756"/>
              </a:xfrm>
              <a:prstGeom prst="rect">
                <a:avLst/>
              </a:prstGeom>
              <a:noFill/>
            </p:spPr>
            <p:txBody>
              <a:bodyPr wrap="square" lIns="73152" rIns="73152" anchor="ctr" anchorCtr="0">
                <a:no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55B8"/>
                    </a:solidFill>
                    <a:effectLst/>
                    <a:uLnTx/>
                    <a:uFillTx/>
                    <a:latin typeface="Segoe UI Semibold" panose="020B0702040204020203" pitchFamily="34" charset="0"/>
                    <a:ea typeface="+mn-ea"/>
                    <a:cs typeface="Segoe UI Semibold" panose="020B0702040204020203" pitchFamily="34" charset="0"/>
                  </a:rPr>
                  <a:t>User </a:t>
                </a:r>
                <a:br>
                  <a:rPr kumimoji="0" lang="en-US" sz="1400" b="0" i="0" u="none" strike="noStrike" kern="0" cap="none" spc="0" normalizeH="0" baseline="0" noProof="0">
                    <a:ln>
                      <a:noFill/>
                    </a:ln>
                    <a:solidFill>
                      <a:srgbClr val="0055B8"/>
                    </a:solidFill>
                    <a:effectLst/>
                    <a:uLnTx/>
                    <a:uFillTx/>
                    <a:latin typeface="Segoe UI Semibold" panose="020B0702040204020203" pitchFamily="34" charset="0"/>
                    <a:ea typeface="+mn-ea"/>
                    <a:cs typeface="Segoe UI Semibold" panose="020B0702040204020203" pitchFamily="34" charset="0"/>
                  </a:rPr>
                </a:br>
                <a:r>
                  <a:rPr kumimoji="0" lang="en-US" sz="1400" b="0" i="0" u="none" strike="noStrike" kern="0" cap="none" spc="0" normalizeH="0" baseline="0" noProof="0">
                    <a:ln>
                      <a:noFill/>
                    </a:ln>
                    <a:solidFill>
                      <a:srgbClr val="0055B8"/>
                    </a:solidFill>
                    <a:effectLst/>
                    <a:uLnTx/>
                    <a:uFillTx/>
                    <a:latin typeface="Segoe UI Semibold" panose="020B0702040204020203" pitchFamily="34" charset="0"/>
                    <a:ea typeface="+mn-ea"/>
                    <a:cs typeface="Segoe UI Semibold" panose="020B0702040204020203" pitchFamily="34" charset="0"/>
                  </a:rPr>
                  <a:t>Experience (UX)</a:t>
                </a:r>
              </a:p>
            </p:txBody>
          </p:sp>
        </p:grpSp>
        <p:grpSp>
          <p:nvGrpSpPr>
            <p:cNvPr id="176" name="Group 175">
              <a:extLst>
                <a:ext uri="{FF2B5EF4-FFF2-40B4-BE49-F238E27FC236}">
                  <a16:creationId xmlns:a16="http://schemas.microsoft.com/office/drawing/2014/main" id="{DE3C6FA4-956F-4665-B616-57730AC93055}"/>
                </a:ext>
              </a:extLst>
            </p:cNvPr>
            <p:cNvGrpSpPr/>
            <p:nvPr/>
          </p:nvGrpSpPr>
          <p:grpSpPr>
            <a:xfrm>
              <a:off x="514172" y="3499641"/>
              <a:ext cx="11149925" cy="1139205"/>
              <a:chOff x="514172" y="3575841"/>
              <a:chExt cx="11149925" cy="1139205"/>
            </a:xfrm>
          </p:grpSpPr>
          <p:grpSp>
            <p:nvGrpSpPr>
              <p:cNvPr id="178" name="Group 177">
                <a:extLst>
                  <a:ext uri="{FF2B5EF4-FFF2-40B4-BE49-F238E27FC236}">
                    <a16:creationId xmlns:a16="http://schemas.microsoft.com/office/drawing/2014/main" id="{A05A9F4E-2AEA-4A37-A6F1-DAFFEF3F9ECF}"/>
                  </a:ext>
                </a:extLst>
              </p:cNvPr>
              <p:cNvGrpSpPr/>
              <p:nvPr/>
            </p:nvGrpSpPr>
            <p:grpSpPr>
              <a:xfrm>
                <a:off x="514172" y="3575841"/>
                <a:ext cx="1139204" cy="1139205"/>
                <a:chOff x="547806" y="3575841"/>
                <a:chExt cx="1139204" cy="1139205"/>
              </a:xfrm>
            </p:grpSpPr>
            <p:sp>
              <p:nvSpPr>
                <p:cNvPr id="247" name="Oval 246">
                  <a:extLst>
                    <a:ext uri="{FF2B5EF4-FFF2-40B4-BE49-F238E27FC236}">
                      <a16:creationId xmlns:a16="http://schemas.microsoft.com/office/drawing/2014/main" id="{1E72576D-06B9-43CC-8D44-E8CF35E5641D}"/>
                    </a:ext>
                  </a:extLst>
                </p:cNvPr>
                <p:cNvSpPr/>
                <p:nvPr/>
              </p:nvSpPr>
              <p:spPr>
                <a:xfrm>
                  <a:off x="547806" y="3575841"/>
                  <a:ext cx="1139204" cy="1139205"/>
                </a:xfrm>
                <a:prstGeom prst="ellipse">
                  <a:avLst/>
                </a:prstGeom>
                <a:solidFill>
                  <a:schemeClr val="accent2"/>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Segoe UI"/>
                    <a:ea typeface="+mn-ea"/>
                    <a:cs typeface="+mn-cs"/>
                  </a:endParaRPr>
                </a:p>
              </p:txBody>
            </p:sp>
            <p:grpSp>
              <p:nvGrpSpPr>
                <p:cNvPr id="248" name="Group 247">
                  <a:extLst>
                    <a:ext uri="{FF2B5EF4-FFF2-40B4-BE49-F238E27FC236}">
                      <a16:creationId xmlns:a16="http://schemas.microsoft.com/office/drawing/2014/main" id="{6379EA2D-46F8-433E-864A-6D3C7CFFE6C4}"/>
                    </a:ext>
                  </a:extLst>
                </p:cNvPr>
                <p:cNvGrpSpPr/>
                <p:nvPr/>
              </p:nvGrpSpPr>
              <p:grpSpPr>
                <a:xfrm>
                  <a:off x="794170" y="3923568"/>
                  <a:ext cx="646477" cy="443750"/>
                  <a:chOff x="7132638" y="5713413"/>
                  <a:chExt cx="911225" cy="625475"/>
                </a:xfrm>
              </p:grpSpPr>
              <p:sp>
                <p:nvSpPr>
                  <p:cNvPr id="249" name="Freeform 42">
                    <a:extLst>
                      <a:ext uri="{FF2B5EF4-FFF2-40B4-BE49-F238E27FC236}">
                        <a16:creationId xmlns:a16="http://schemas.microsoft.com/office/drawing/2014/main" id="{79A4330A-C1C9-4D7D-9081-1371440F5E76}"/>
                      </a:ext>
                    </a:extLst>
                  </p:cNvPr>
                  <p:cNvSpPr>
                    <a:spLocks/>
                  </p:cNvSpPr>
                  <p:nvPr/>
                </p:nvSpPr>
                <p:spPr bwMode="auto">
                  <a:xfrm>
                    <a:off x="7132638" y="5713413"/>
                    <a:ext cx="911225" cy="549275"/>
                  </a:xfrm>
                  <a:custGeom>
                    <a:avLst/>
                    <a:gdLst>
                      <a:gd name="T0" fmla="*/ 71 w 240"/>
                      <a:gd name="T1" fmla="*/ 144 h 144"/>
                      <a:gd name="T2" fmla="*/ 48 w 240"/>
                      <a:gd name="T3" fmla="*/ 144 h 144"/>
                      <a:gd name="T4" fmla="*/ 0 w 240"/>
                      <a:gd name="T5" fmla="*/ 96 h 144"/>
                      <a:gd name="T6" fmla="*/ 34 w 240"/>
                      <a:gd name="T7" fmla="*/ 50 h 144"/>
                      <a:gd name="T8" fmla="*/ 34 w 240"/>
                      <a:gd name="T9" fmla="*/ 44 h 144"/>
                      <a:gd name="T10" fmla="*/ 78 w 240"/>
                      <a:gd name="T11" fmla="*/ 0 h 144"/>
                      <a:gd name="T12" fmla="*/ 122 w 240"/>
                      <a:gd name="T13" fmla="*/ 41 h 144"/>
                      <a:gd name="T14" fmla="*/ 146 w 240"/>
                      <a:gd name="T15" fmla="*/ 34 h 144"/>
                      <a:gd name="T16" fmla="*/ 190 w 240"/>
                      <a:gd name="T17" fmla="*/ 78 h 144"/>
                      <a:gd name="T18" fmla="*/ 190 w 240"/>
                      <a:gd name="T19" fmla="*/ 80 h 144"/>
                      <a:gd name="T20" fmla="*/ 206 w 240"/>
                      <a:gd name="T21" fmla="*/ 76 h 144"/>
                      <a:gd name="T22" fmla="*/ 240 w 240"/>
                      <a:gd name="T23" fmla="*/ 110 h 144"/>
                      <a:gd name="T24" fmla="*/ 206 w 240"/>
                      <a:gd name="T25" fmla="*/ 144 h 144"/>
                      <a:gd name="T26" fmla="*/ 171 w 240"/>
                      <a:gd name="T27"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0" h="144">
                        <a:moveTo>
                          <a:pt x="71" y="144"/>
                        </a:moveTo>
                        <a:cubicBezTo>
                          <a:pt x="48" y="144"/>
                          <a:pt x="48" y="144"/>
                          <a:pt x="48" y="144"/>
                        </a:cubicBezTo>
                        <a:cubicBezTo>
                          <a:pt x="21" y="144"/>
                          <a:pt x="0" y="122"/>
                          <a:pt x="0" y="96"/>
                        </a:cubicBezTo>
                        <a:cubicBezTo>
                          <a:pt x="0" y="74"/>
                          <a:pt x="15" y="56"/>
                          <a:pt x="34" y="50"/>
                        </a:cubicBezTo>
                        <a:cubicBezTo>
                          <a:pt x="34" y="48"/>
                          <a:pt x="34" y="46"/>
                          <a:pt x="34" y="44"/>
                        </a:cubicBezTo>
                        <a:cubicBezTo>
                          <a:pt x="34" y="20"/>
                          <a:pt x="54" y="0"/>
                          <a:pt x="78" y="0"/>
                        </a:cubicBezTo>
                        <a:cubicBezTo>
                          <a:pt x="101" y="0"/>
                          <a:pt x="120" y="18"/>
                          <a:pt x="122" y="41"/>
                        </a:cubicBezTo>
                        <a:cubicBezTo>
                          <a:pt x="129" y="37"/>
                          <a:pt x="137" y="34"/>
                          <a:pt x="146" y="34"/>
                        </a:cubicBezTo>
                        <a:cubicBezTo>
                          <a:pt x="170" y="34"/>
                          <a:pt x="190" y="54"/>
                          <a:pt x="190" y="78"/>
                        </a:cubicBezTo>
                        <a:cubicBezTo>
                          <a:pt x="190" y="79"/>
                          <a:pt x="190" y="79"/>
                          <a:pt x="190" y="80"/>
                        </a:cubicBezTo>
                        <a:cubicBezTo>
                          <a:pt x="195" y="77"/>
                          <a:pt x="200" y="76"/>
                          <a:pt x="206" y="76"/>
                        </a:cubicBezTo>
                        <a:cubicBezTo>
                          <a:pt x="225" y="76"/>
                          <a:pt x="240" y="91"/>
                          <a:pt x="240" y="110"/>
                        </a:cubicBezTo>
                        <a:cubicBezTo>
                          <a:pt x="240" y="129"/>
                          <a:pt x="225" y="144"/>
                          <a:pt x="206" y="144"/>
                        </a:cubicBezTo>
                        <a:cubicBezTo>
                          <a:pt x="171" y="144"/>
                          <a:pt x="171" y="144"/>
                          <a:pt x="171" y="144"/>
                        </a:cubicBezTo>
                      </a:path>
                    </a:pathLst>
                  </a:custGeom>
                  <a:noFill/>
                  <a:ln w="25400" cap="rnd">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50" name="Freeform 43">
                    <a:extLst>
                      <a:ext uri="{FF2B5EF4-FFF2-40B4-BE49-F238E27FC236}">
                        <a16:creationId xmlns:a16="http://schemas.microsoft.com/office/drawing/2014/main" id="{0F02E1AC-0F3A-4A2F-9D58-DDC62CB9D6A1}"/>
                      </a:ext>
                    </a:extLst>
                  </p:cNvPr>
                  <p:cNvSpPr>
                    <a:spLocks/>
                  </p:cNvSpPr>
                  <p:nvPr/>
                </p:nvSpPr>
                <p:spPr bwMode="auto">
                  <a:xfrm>
                    <a:off x="7402513" y="5973763"/>
                    <a:ext cx="303213" cy="365125"/>
                  </a:xfrm>
                  <a:custGeom>
                    <a:avLst/>
                    <a:gdLst>
                      <a:gd name="T0" fmla="*/ 0 w 80"/>
                      <a:gd name="T1" fmla="*/ 84 h 96"/>
                      <a:gd name="T2" fmla="*/ 40 w 80"/>
                      <a:gd name="T3" fmla="*/ 96 h 96"/>
                      <a:gd name="T4" fmla="*/ 80 w 80"/>
                      <a:gd name="T5" fmla="*/ 84 h 96"/>
                      <a:gd name="T6" fmla="*/ 80 w 80"/>
                      <a:gd name="T7" fmla="*/ 12 h 96"/>
                      <a:gd name="T8" fmla="*/ 40 w 80"/>
                      <a:gd name="T9" fmla="*/ 0 h 96"/>
                      <a:gd name="T10" fmla="*/ 0 w 80"/>
                      <a:gd name="T11" fmla="*/ 12 h 96"/>
                      <a:gd name="T12" fmla="*/ 0 w 80"/>
                      <a:gd name="T13" fmla="*/ 84 h 96"/>
                    </a:gdLst>
                    <a:ahLst/>
                    <a:cxnLst>
                      <a:cxn ang="0">
                        <a:pos x="T0" y="T1"/>
                      </a:cxn>
                      <a:cxn ang="0">
                        <a:pos x="T2" y="T3"/>
                      </a:cxn>
                      <a:cxn ang="0">
                        <a:pos x="T4" y="T5"/>
                      </a:cxn>
                      <a:cxn ang="0">
                        <a:pos x="T6" y="T7"/>
                      </a:cxn>
                      <a:cxn ang="0">
                        <a:pos x="T8" y="T9"/>
                      </a:cxn>
                      <a:cxn ang="0">
                        <a:pos x="T10" y="T11"/>
                      </a:cxn>
                      <a:cxn ang="0">
                        <a:pos x="T12" y="T13"/>
                      </a:cxn>
                    </a:cxnLst>
                    <a:rect l="0" t="0" r="r" b="b"/>
                    <a:pathLst>
                      <a:path w="80" h="96">
                        <a:moveTo>
                          <a:pt x="0" y="84"/>
                        </a:moveTo>
                        <a:cubicBezTo>
                          <a:pt x="0" y="91"/>
                          <a:pt x="17" y="96"/>
                          <a:pt x="40" y="96"/>
                        </a:cubicBezTo>
                        <a:cubicBezTo>
                          <a:pt x="62" y="96"/>
                          <a:pt x="80" y="91"/>
                          <a:pt x="80" y="84"/>
                        </a:cubicBezTo>
                        <a:cubicBezTo>
                          <a:pt x="80" y="12"/>
                          <a:pt x="80" y="12"/>
                          <a:pt x="80" y="12"/>
                        </a:cubicBezTo>
                        <a:cubicBezTo>
                          <a:pt x="80" y="5"/>
                          <a:pt x="62" y="0"/>
                          <a:pt x="40" y="0"/>
                        </a:cubicBezTo>
                        <a:cubicBezTo>
                          <a:pt x="17" y="0"/>
                          <a:pt x="0" y="5"/>
                          <a:pt x="0" y="12"/>
                        </a:cubicBezTo>
                        <a:lnTo>
                          <a:pt x="0" y="84"/>
                        </a:lnTo>
                        <a:close/>
                      </a:path>
                    </a:pathLst>
                  </a:custGeom>
                  <a:noFill/>
                  <a:ln w="2540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51" name="Freeform 44">
                    <a:extLst>
                      <a:ext uri="{FF2B5EF4-FFF2-40B4-BE49-F238E27FC236}">
                        <a16:creationId xmlns:a16="http://schemas.microsoft.com/office/drawing/2014/main" id="{D34F7383-6611-4892-B0ED-E8E6E36EF9AC}"/>
                      </a:ext>
                    </a:extLst>
                  </p:cNvPr>
                  <p:cNvSpPr>
                    <a:spLocks/>
                  </p:cNvSpPr>
                  <p:nvPr/>
                </p:nvSpPr>
                <p:spPr bwMode="auto">
                  <a:xfrm>
                    <a:off x="7402513" y="6018213"/>
                    <a:ext cx="303213" cy="46038"/>
                  </a:xfrm>
                  <a:custGeom>
                    <a:avLst/>
                    <a:gdLst>
                      <a:gd name="T0" fmla="*/ 0 w 80"/>
                      <a:gd name="T1" fmla="*/ 0 h 12"/>
                      <a:gd name="T2" fmla="*/ 40 w 80"/>
                      <a:gd name="T3" fmla="*/ 12 h 12"/>
                      <a:gd name="T4" fmla="*/ 80 w 80"/>
                      <a:gd name="T5" fmla="*/ 0 h 12"/>
                    </a:gdLst>
                    <a:ahLst/>
                    <a:cxnLst>
                      <a:cxn ang="0">
                        <a:pos x="T0" y="T1"/>
                      </a:cxn>
                      <a:cxn ang="0">
                        <a:pos x="T2" y="T3"/>
                      </a:cxn>
                      <a:cxn ang="0">
                        <a:pos x="T4" y="T5"/>
                      </a:cxn>
                    </a:cxnLst>
                    <a:rect l="0" t="0" r="r" b="b"/>
                    <a:pathLst>
                      <a:path w="80" h="12">
                        <a:moveTo>
                          <a:pt x="0" y="0"/>
                        </a:moveTo>
                        <a:cubicBezTo>
                          <a:pt x="0" y="7"/>
                          <a:pt x="17" y="12"/>
                          <a:pt x="40" y="12"/>
                        </a:cubicBezTo>
                        <a:cubicBezTo>
                          <a:pt x="62" y="12"/>
                          <a:pt x="80" y="7"/>
                          <a:pt x="80" y="0"/>
                        </a:cubicBezTo>
                      </a:path>
                    </a:pathLst>
                  </a:custGeom>
                  <a:noFill/>
                  <a:ln w="2540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52" name="Freeform 45">
                    <a:extLst>
                      <a:ext uri="{FF2B5EF4-FFF2-40B4-BE49-F238E27FC236}">
                        <a16:creationId xmlns:a16="http://schemas.microsoft.com/office/drawing/2014/main" id="{085E1A1A-7106-444A-AE64-0D501933D776}"/>
                      </a:ext>
                    </a:extLst>
                  </p:cNvPr>
                  <p:cNvSpPr>
                    <a:spLocks/>
                  </p:cNvSpPr>
                  <p:nvPr/>
                </p:nvSpPr>
                <p:spPr bwMode="auto">
                  <a:xfrm>
                    <a:off x="7402513" y="6110288"/>
                    <a:ext cx="303213" cy="46038"/>
                  </a:xfrm>
                  <a:custGeom>
                    <a:avLst/>
                    <a:gdLst>
                      <a:gd name="T0" fmla="*/ 80 w 80"/>
                      <a:gd name="T1" fmla="*/ 0 h 12"/>
                      <a:gd name="T2" fmla="*/ 40 w 80"/>
                      <a:gd name="T3" fmla="*/ 12 h 12"/>
                      <a:gd name="T4" fmla="*/ 0 w 80"/>
                      <a:gd name="T5" fmla="*/ 0 h 12"/>
                    </a:gdLst>
                    <a:ahLst/>
                    <a:cxnLst>
                      <a:cxn ang="0">
                        <a:pos x="T0" y="T1"/>
                      </a:cxn>
                      <a:cxn ang="0">
                        <a:pos x="T2" y="T3"/>
                      </a:cxn>
                      <a:cxn ang="0">
                        <a:pos x="T4" y="T5"/>
                      </a:cxn>
                    </a:cxnLst>
                    <a:rect l="0" t="0" r="r" b="b"/>
                    <a:pathLst>
                      <a:path w="80" h="12">
                        <a:moveTo>
                          <a:pt x="80" y="0"/>
                        </a:moveTo>
                        <a:cubicBezTo>
                          <a:pt x="80" y="7"/>
                          <a:pt x="62" y="12"/>
                          <a:pt x="40" y="12"/>
                        </a:cubicBezTo>
                        <a:cubicBezTo>
                          <a:pt x="17" y="12"/>
                          <a:pt x="0" y="7"/>
                          <a:pt x="0" y="0"/>
                        </a:cubicBezTo>
                      </a:path>
                    </a:pathLst>
                  </a:custGeom>
                  <a:noFill/>
                  <a:ln w="2540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53" name="Freeform 46">
                    <a:extLst>
                      <a:ext uri="{FF2B5EF4-FFF2-40B4-BE49-F238E27FC236}">
                        <a16:creationId xmlns:a16="http://schemas.microsoft.com/office/drawing/2014/main" id="{BEE61A0F-E5F0-48B9-B0D6-89120A6AF930}"/>
                      </a:ext>
                    </a:extLst>
                  </p:cNvPr>
                  <p:cNvSpPr>
                    <a:spLocks/>
                  </p:cNvSpPr>
                  <p:nvPr/>
                </p:nvSpPr>
                <p:spPr bwMode="auto">
                  <a:xfrm>
                    <a:off x="7402513" y="6202363"/>
                    <a:ext cx="303213" cy="46038"/>
                  </a:xfrm>
                  <a:custGeom>
                    <a:avLst/>
                    <a:gdLst>
                      <a:gd name="T0" fmla="*/ 80 w 80"/>
                      <a:gd name="T1" fmla="*/ 0 h 12"/>
                      <a:gd name="T2" fmla="*/ 40 w 80"/>
                      <a:gd name="T3" fmla="*/ 12 h 12"/>
                      <a:gd name="T4" fmla="*/ 0 w 80"/>
                      <a:gd name="T5" fmla="*/ 0 h 12"/>
                    </a:gdLst>
                    <a:ahLst/>
                    <a:cxnLst>
                      <a:cxn ang="0">
                        <a:pos x="T0" y="T1"/>
                      </a:cxn>
                      <a:cxn ang="0">
                        <a:pos x="T2" y="T3"/>
                      </a:cxn>
                      <a:cxn ang="0">
                        <a:pos x="T4" y="T5"/>
                      </a:cxn>
                    </a:cxnLst>
                    <a:rect l="0" t="0" r="r" b="b"/>
                    <a:pathLst>
                      <a:path w="80" h="12">
                        <a:moveTo>
                          <a:pt x="80" y="0"/>
                        </a:moveTo>
                        <a:cubicBezTo>
                          <a:pt x="80" y="7"/>
                          <a:pt x="62" y="12"/>
                          <a:pt x="40" y="12"/>
                        </a:cubicBezTo>
                        <a:cubicBezTo>
                          <a:pt x="17" y="12"/>
                          <a:pt x="0" y="7"/>
                          <a:pt x="0" y="0"/>
                        </a:cubicBezTo>
                      </a:path>
                    </a:pathLst>
                  </a:custGeom>
                  <a:noFill/>
                  <a:ln w="2540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54" name="Oval 47">
                    <a:extLst>
                      <a:ext uri="{FF2B5EF4-FFF2-40B4-BE49-F238E27FC236}">
                        <a16:creationId xmlns:a16="http://schemas.microsoft.com/office/drawing/2014/main" id="{EA40E71C-AAC8-4840-AD40-6AB68A7638A8}"/>
                      </a:ext>
                    </a:extLst>
                  </p:cNvPr>
                  <p:cNvSpPr>
                    <a:spLocks noChangeArrowheads="1"/>
                  </p:cNvSpPr>
                  <p:nvPr/>
                </p:nvSpPr>
                <p:spPr bwMode="auto">
                  <a:xfrm>
                    <a:off x="7634288" y="6083300"/>
                    <a:ext cx="30163" cy="31750"/>
                  </a:xfrm>
                  <a:prstGeom prst="ellipse">
                    <a:avLst/>
                  </a:prstGeom>
                  <a:solidFill>
                    <a:schemeClr val="accent2">
                      <a:lumMod val="20000"/>
                      <a:lumOff val="80000"/>
                    </a:schemeClr>
                  </a:solidFill>
                  <a:ln w="25400">
                    <a:solidFill>
                      <a:schemeClr val="bg2"/>
                    </a:solidFill>
                  </a:ln>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55" name="Oval 48">
                    <a:extLst>
                      <a:ext uri="{FF2B5EF4-FFF2-40B4-BE49-F238E27FC236}">
                        <a16:creationId xmlns:a16="http://schemas.microsoft.com/office/drawing/2014/main" id="{DEDE190F-7E38-418D-B5D0-8C2B7EF9C63A}"/>
                      </a:ext>
                    </a:extLst>
                  </p:cNvPr>
                  <p:cNvSpPr>
                    <a:spLocks noChangeArrowheads="1"/>
                  </p:cNvSpPr>
                  <p:nvPr/>
                </p:nvSpPr>
                <p:spPr bwMode="auto">
                  <a:xfrm>
                    <a:off x="7634288" y="6175375"/>
                    <a:ext cx="30163" cy="30163"/>
                  </a:xfrm>
                  <a:prstGeom prst="ellipse">
                    <a:avLst/>
                  </a:prstGeom>
                  <a:solidFill>
                    <a:schemeClr val="accent2">
                      <a:lumMod val="20000"/>
                      <a:lumOff val="80000"/>
                    </a:schemeClr>
                  </a:solidFill>
                  <a:ln w="25400">
                    <a:solidFill>
                      <a:schemeClr val="bg2"/>
                    </a:solidFill>
                  </a:ln>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56" name="Oval 49">
                    <a:extLst>
                      <a:ext uri="{FF2B5EF4-FFF2-40B4-BE49-F238E27FC236}">
                        <a16:creationId xmlns:a16="http://schemas.microsoft.com/office/drawing/2014/main" id="{C2388B85-07C7-4858-A1E5-09B63A0062E6}"/>
                      </a:ext>
                    </a:extLst>
                  </p:cNvPr>
                  <p:cNvSpPr>
                    <a:spLocks noChangeArrowheads="1"/>
                  </p:cNvSpPr>
                  <p:nvPr/>
                </p:nvSpPr>
                <p:spPr bwMode="auto">
                  <a:xfrm>
                    <a:off x="7634288" y="6270625"/>
                    <a:ext cx="30163" cy="30163"/>
                  </a:xfrm>
                  <a:prstGeom prst="ellipse">
                    <a:avLst/>
                  </a:prstGeom>
                  <a:solidFill>
                    <a:schemeClr val="accent2">
                      <a:lumMod val="20000"/>
                      <a:lumOff val="80000"/>
                    </a:schemeClr>
                  </a:solidFill>
                  <a:ln w="25400">
                    <a:solidFill>
                      <a:schemeClr val="bg2"/>
                    </a:solidFill>
                  </a:ln>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grpSp>
          </p:grpSp>
          <p:grpSp>
            <p:nvGrpSpPr>
              <p:cNvPr id="180" name="Group 179">
                <a:extLst>
                  <a:ext uri="{FF2B5EF4-FFF2-40B4-BE49-F238E27FC236}">
                    <a16:creationId xmlns:a16="http://schemas.microsoft.com/office/drawing/2014/main" id="{C4358362-440D-4184-BF20-36DE7D2C8594}"/>
                  </a:ext>
                </a:extLst>
              </p:cNvPr>
              <p:cNvGrpSpPr/>
              <p:nvPr/>
            </p:nvGrpSpPr>
            <p:grpSpPr>
              <a:xfrm>
                <a:off x="6234584" y="3575841"/>
                <a:ext cx="1139204" cy="1139205"/>
                <a:chOff x="6260370" y="3575841"/>
                <a:chExt cx="1139204" cy="1139205"/>
              </a:xfrm>
            </p:grpSpPr>
            <p:sp>
              <p:nvSpPr>
                <p:cNvPr id="217" name="Oval 216">
                  <a:extLst>
                    <a:ext uri="{FF2B5EF4-FFF2-40B4-BE49-F238E27FC236}">
                      <a16:creationId xmlns:a16="http://schemas.microsoft.com/office/drawing/2014/main" id="{64E4743F-14BF-40F2-BEC3-25801650D6FE}"/>
                    </a:ext>
                  </a:extLst>
                </p:cNvPr>
                <p:cNvSpPr/>
                <p:nvPr/>
              </p:nvSpPr>
              <p:spPr>
                <a:xfrm>
                  <a:off x="6260370" y="3575841"/>
                  <a:ext cx="1139204" cy="1139205"/>
                </a:xfrm>
                <a:prstGeom prst="ellipse">
                  <a:avLst/>
                </a:prstGeom>
                <a:solidFill>
                  <a:schemeClr val="accent2"/>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Segoe UI"/>
                    <a:ea typeface="+mn-ea"/>
                    <a:cs typeface="+mn-cs"/>
                  </a:endParaRPr>
                </a:p>
              </p:txBody>
            </p:sp>
            <p:grpSp>
              <p:nvGrpSpPr>
                <p:cNvPr id="218" name="Group 217">
                  <a:extLst>
                    <a:ext uri="{FF2B5EF4-FFF2-40B4-BE49-F238E27FC236}">
                      <a16:creationId xmlns:a16="http://schemas.microsoft.com/office/drawing/2014/main" id="{2462BAAE-968E-4AB6-803F-CD7CBAE0376F}"/>
                    </a:ext>
                  </a:extLst>
                </p:cNvPr>
                <p:cNvGrpSpPr/>
                <p:nvPr/>
              </p:nvGrpSpPr>
              <p:grpSpPr>
                <a:xfrm>
                  <a:off x="6522353" y="3911227"/>
                  <a:ext cx="615238" cy="468432"/>
                  <a:chOff x="5149850" y="2533651"/>
                  <a:chExt cx="871538" cy="663575"/>
                </a:xfrm>
              </p:grpSpPr>
              <p:sp>
                <p:nvSpPr>
                  <p:cNvPr id="219" name="Line 87">
                    <a:extLst>
                      <a:ext uri="{FF2B5EF4-FFF2-40B4-BE49-F238E27FC236}">
                        <a16:creationId xmlns:a16="http://schemas.microsoft.com/office/drawing/2014/main" id="{F24E0DE6-5624-412C-9E58-726EA07DDAF6}"/>
                      </a:ext>
                    </a:extLst>
                  </p:cNvPr>
                  <p:cNvSpPr>
                    <a:spLocks noChangeShapeType="1"/>
                  </p:cNvSpPr>
                  <p:nvPr/>
                </p:nvSpPr>
                <p:spPr bwMode="auto">
                  <a:xfrm flipV="1">
                    <a:off x="5510213" y="2879726"/>
                    <a:ext cx="0" cy="136525"/>
                  </a:xfrm>
                  <a:prstGeom prst="line">
                    <a:avLst/>
                  </a:prstGeom>
                  <a:noFill/>
                  <a:ln w="25400" cap="flat">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20" name="Line 88">
                    <a:extLst>
                      <a:ext uri="{FF2B5EF4-FFF2-40B4-BE49-F238E27FC236}">
                        <a16:creationId xmlns:a16="http://schemas.microsoft.com/office/drawing/2014/main" id="{653D33BC-6546-4D19-9FB3-6A155D9AF421}"/>
                      </a:ext>
                    </a:extLst>
                  </p:cNvPr>
                  <p:cNvSpPr>
                    <a:spLocks noChangeShapeType="1"/>
                  </p:cNvSpPr>
                  <p:nvPr/>
                </p:nvSpPr>
                <p:spPr bwMode="auto">
                  <a:xfrm flipV="1">
                    <a:off x="5584825" y="2819401"/>
                    <a:ext cx="0" cy="196850"/>
                  </a:xfrm>
                  <a:prstGeom prst="line">
                    <a:avLst/>
                  </a:prstGeom>
                  <a:noFill/>
                  <a:ln w="25400" cap="flat">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21" name="Line 89">
                    <a:extLst>
                      <a:ext uri="{FF2B5EF4-FFF2-40B4-BE49-F238E27FC236}">
                        <a16:creationId xmlns:a16="http://schemas.microsoft.com/office/drawing/2014/main" id="{A541261E-8D6B-45D7-A78D-1DB876D02650}"/>
                      </a:ext>
                    </a:extLst>
                  </p:cNvPr>
                  <p:cNvSpPr>
                    <a:spLocks noChangeShapeType="1"/>
                  </p:cNvSpPr>
                  <p:nvPr/>
                </p:nvSpPr>
                <p:spPr bwMode="auto">
                  <a:xfrm flipV="1">
                    <a:off x="5661025" y="2940051"/>
                    <a:ext cx="0" cy="76200"/>
                  </a:xfrm>
                  <a:prstGeom prst="line">
                    <a:avLst/>
                  </a:prstGeom>
                  <a:noFill/>
                  <a:ln w="25400" cap="flat">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22" name="Line 90">
                    <a:extLst>
                      <a:ext uri="{FF2B5EF4-FFF2-40B4-BE49-F238E27FC236}">
                        <a16:creationId xmlns:a16="http://schemas.microsoft.com/office/drawing/2014/main" id="{5532C8D8-2907-4F05-A33C-0DACC8DE19E1}"/>
                      </a:ext>
                    </a:extLst>
                  </p:cNvPr>
                  <p:cNvSpPr>
                    <a:spLocks noChangeShapeType="1"/>
                  </p:cNvSpPr>
                  <p:nvPr/>
                </p:nvSpPr>
                <p:spPr bwMode="auto">
                  <a:xfrm flipV="1">
                    <a:off x="5284788" y="2970213"/>
                    <a:ext cx="0" cy="46038"/>
                  </a:xfrm>
                  <a:prstGeom prst="line">
                    <a:avLst/>
                  </a:prstGeom>
                  <a:noFill/>
                  <a:ln w="25400" cap="flat">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23" name="Line 91">
                    <a:extLst>
                      <a:ext uri="{FF2B5EF4-FFF2-40B4-BE49-F238E27FC236}">
                        <a16:creationId xmlns:a16="http://schemas.microsoft.com/office/drawing/2014/main" id="{C419D95E-F4C7-48CA-83A8-BA656290F327}"/>
                      </a:ext>
                    </a:extLst>
                  </p:cNvPr>
                  <p:cNvSpPr>
                    <a:spLocks noChangeShapeType="1"/>
                  </p:cNvSpPr>
                  <p:nvPr/>
                </p:nvSpPr>
                <p:spPr bwMode="auto">
                  <a:xfrm flipV="1">
                    <a:off x="5359400" y="2895601"/>
                    <a:ext cx="0" cy="120650"/>
                  </a:xfrm>
                  <a:prstGeom prst="line">
                    <a:avLst/>
                  </a:prstGeom>
                  <a:noFill/>
                  <a:ln w="25400" cap="flat">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24" name="Line 92">
                    <a:extLst>
                      <a:ext uri="{FF2B5EF4-FFF2-40B4-BE49-F238E27FC236}">
                        <a16:creationId xmlns:a16="http://schemas.microsoft.com/office/drawing/2014/main" id="{73E7992F-086B-4725-8D82-D0AE242EC1EA}"/>
                      </a:ext>
                    </a:extLst>
                  </p:cNvPr>
                  <p:cNvSpPr>
                    <a:spLocks noChangeShapeType="1"/>
                  </p:cNvSpPr>
                  <p:nvPr/>
                </p:nvSpPr>
                <p:spPr bwMode="auto">
                  <a:xfrm flipV="1">
                    <a:off x="5435600" y="2940051"/>
                    <a:ext cx="0" cy="76200"/>
                  </a:xfrm>
                  <a:prstGeom prst="line">
                    <a:avLst/>
                  </a:prstGeom>
                  <a:noFill/>
                  <a:ln w="25400" cap="flat">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25" name="Line 93">
                    <a:extLst>
                      <a:ext uri="{FF2B5EF4-FFF2-40B4-BE49-F238E27FC236}">
                        <a16:creationId xmlns:a16="http://schemas.microsoft.com/office/drawing/2014/main" id="{12C0CE09-3725-49F1-9F93-B209C86BDEEC}"/>
                      </a:ext>
                    </a:extLst>
                  </p:cNvPr>
                  <p:cNvSpPr>
                    <a:spLocks noChangeShapeType="1"/>
                  </p:cNvSpPr>
                  <p:nvPr/>
                </p:nvSpPr>
                <p:spPr bwMode="auto">
                  <a:xfrm flipV="1">
                    <a:off x="5735638" y="2879726"/>
                    <a:ext cx="0" cy="136525"/>
                  </a:xfrm>
                  <a:prstGeom prst="line">
                    <a:avLst/>
                  </a:prstGeom>
                  <a:noFill/>
                  <a:ln w="25400" cap="flat">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26" name="Line 94">
                    <a:extLst>
                      <a:ext uri="{FF2B5EF4-FFF2-40B4-BE49-F238E27FC236}">
                        <a16:creationId xmlns:a16="http://schemas.microsoft.com/office/drawing/2014/main" id="{F791F5D9-B74F-4925-B30D-A0E456EE3393}"/>
                      </a:ext>
                    </a:extLst>
                  </p:cNvPr>
                  <p:cNvSpPr>
                    <a:spLocks noChangeShapeType="1"/>
                  </p:cNvSpPr>
                  <p:nvPr/>
                </p:nvSpPr>
                <p:spPr bwMode="auto">
                  <a:xfrm flipV="1">
                    <a:off x="5810250" y="2909888"/>
                    <a:ext cx="0" cy="106363"/>
                  </a:xfrm>
                  <a:prstGeom prst="line">
                    <a:avLst/>
                  </a:prstGeom>
                  <a:noFill/>
                  <a:ln w="25400" cap="flat">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27" name="Line 95">
                    <a:extLst>
                      <a:ext uri="{FF2B5EF4-FFF2-40B4-BE49-F238E27FC236}">
                        <a16:creationId xmlns:a16="http://schemas.microsoft.com/office/drawing/2014/main" id="{791F55A5-95C2-4DA6-A97B-4B6B00182AEB}"/>
                      </a:ext>
                    </a:extLst>
                  </p:cNvPr>
                  <p:cNvSpPr>
                    <a:spLocks noChangeShapeType="1"/>
                  </p:cNvSpPr>
                  <p:nvPr/>
                </p:nvSpPr>
                <p:spPr bwMode="auto">
                  <a:xfrm flipV="1">
                    <a:off x="5884863" y="2940051"/>
                    <a:ext cx="0" cy="76200"/>
                  </a:xfrm>
                  <a:prstGeom prst="line">
                    <a:avLst/>
                  </a:prstGeom>
                  <a:noFill/>
                  <a:ln w="25400" cap="flat">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28" name="Rectangle 96">
                    <a:extLst>
                      <a:ext uri="{FF2B5EF4-FFF2-40B4-BE49-F238E27FC236}">
                        <a16:creationId xmlns:a16="http://schemas.microsoft.com/office/drawing/2014/main" id="{5B011B0D-B7A7-4BF9-A159-AA91564E00B6}"/>
                      </a:ext>
                    </a:extLst>
                  </p:cNvPr>
                  <p:cNvSpPr>
                    <a:spLocks noChangeArrowheads="1"/>
                  </p:cNvSpPr>
                  <p:nvPr/>
                </p:nvSpPr>
                <p:spPr bwMode="auto">
                  <a:xfrm>
                    <a:off x="5149850" y="2533651"/>
                    <a:ext cx="871538" cy="542925"/>
                  </a:xfrm>
                  <a:prstGeom prst="rect">
                    <a:avLst/>
                  </a:prstGeom>
                  <a:noFill/>
                  <a:ln w="25400" cap="rnd">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29" name="Line 97">
                    <a:extLst>
                      <a:ext uri="{FF2B5EF4-FFF2-40B4-BE49-F238E27FC236}">
                        <a16:creationId xmlns:a16="http://schemas.microsoft.com/office/drawing/2014/main" id="{B0BD1968-C9C1-4C10-A875-72B4F4AE1C18}"/>
                      </a:ext>
                    </a:extLst>
                  </p:cNvPr>
                  <p:cNvSpPr>
                    <a:spLocks noChangeShapeType="1"/>
                  </p:cNvSpPr>
                  <p:nvPr/>
                </p:nvSpPr>
                <p:spPr bwMode="auto">
                  <a:xfrm>
                    <a:off x="5584825" y="3076576"/>
                    <a:ext cx="0" cy="120650"/>
                  </a:xfrm>
                  <a:prstGeom prst="line">
                    <a:avLst/>
                  </a:prstGeom>
                  <a:noFill/>
                  <a:ln w="25400" cap="rnd">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30" name="Line 98">
                    <a:extLst>
                      <a:ext uri="{FF2B5EF4-FFF2-40B4-BE49-F238E27FC236}">
                        <a16:creationId xmlns:a16="http://schemas.microsoft.com/office/drawing/2014/main" id="{B2601302-11BA-484C-A19E-86025649F6BD}"/>
                      </a:ext>
                    </a:extLst>
                  </p:cNvPr>
                  <p:cNvSpPr>
                    <a:spLocks noChangeShapeType="1"/>
                  </p:cNvSpPr>
                  <p:nvPr/>
                </p:nvSpPr>
                <p:spPr bwMode="auto">
                  <a:xfrm>
                    <a:off x="5435600" y="3197226"/>
                    <a:ext cx="300038" cy="0"/>
                  </a:xfrm>
                  <a:prstGeom prst="line">
                    <a:avLst/>
                  </a:prstGeom>
                  <a:noFill/>
                  <a:ln w="25400" cap="rnd">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31" name="Oval 99">
                    <a:extLst>
                      <a:ext uri="{FF2B5EF4-FFF2-40B4-BE49-F238E27FC236}">
                        <a16:creationId xmlns:a16="http://schemas.microsoft.com/office/drawing/2014/main" id="{D0C2E7FA-2FC3-4EED-81F2-EA9B83D9B12D}"/>
                      </a:ext>
                    </a:extLst>
                  </p:cNvPr>
                  <p:cNvSpPr>
                    <a:spLocks noChangeArrowheads="1"/>
                  </p:cNvSpPr>
                  <p:nvPr/>
                </p:nvSpPr>
                <p:spPr bwMode="auto">
                  <a:xfrm>
                    <a:off x="5326063" y="2627313"/>
                    <a:ext cx="60325" cy="60325"/>
                  </a:xfrm>
                  <a:prstGeom prst="ellipse">
                    <a:avLst/>
                  </a:prstGeom>
                  <a:noFill/>
                  <a:ln w="25400" cap="rnd">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32" name="Oval 100">
                    <a:extLst>
                      <a:ext uri="{FF2B5EF4-FFF2-40B4-BE49-F238E27FC236}">
                        <a16:creationId xmlns:a16="http://schemas.microsoft.com/office/drawing/2014/main" id="{DA8BACFA-AA42-4F45-8109-11AF1BEF2AB0}"/>
                      </a:ext>
                    </a:extLst>
                  </p:cNvPr>
                  <p:cNvSpPr>
                    <a:spLocks noChangeArrowheads="1"/>
                  </p:cNvSpPr>
                  <p:nvPr/>
                </p:nvSpPr>
                <p:spPr bwMode="auto">
                  <a:xfrm>
                    <a:off x="5227638" y="2763838"/>
                    <a:ext cx="60325" cy="60325"/>
                  </a:xfrm>
                  <a:prstGeom prst="ellipse">
                    <a:avLst/>
                  </a:prstGeom>
                  <a:noFill/>
                  <a:ln w="25400" cap="rnd">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33" name="Oval 101">
                    <a:extLst>
                      <a:ext uri="{FF2B5EF4-FFF2-40B4-BE49-F238E27FC236}">
                        <a16:creationId xmlns:a16="http://schemas.microsoft.com/office/drawing/2014/main" id="{1C5A5687-A853-4729-8339-6E05FFAB45A1}"/>
                      </a:ext>
                    </a:extLst>
                  </p:cNvPr>
                  <p:cNvSpPr>
                    <a:spLocks noChangeArrowheads="1"/>
                  </p:cNvSpPr>
                  <p:nvPr/>
                </p:nvSpPr>
                <p:spPr bwMode="auto">
                  <a:xfrm>
                    <a:off x="5461000" y="2709863"/>
                    <a:ext cx="60325" cy="60325"/>
                  </a:xfrm>
                  <a:prstGeom prst="ellipse">
                    <a:avLst/>
                  </a:prstGeom>
                  <a:noFill/>
                  <a:ln w="25400" cap="rnd">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34" name="Oval 102">
                    <a:extLst>
                      <a:ext uri="{FF2B5EF4-FFF2-40B4-BE49-F238E27FC236}">
                        <a16:creationId xmlns:a16="http://schemas.microsoft.com/office/drawing/2014/main" id="{1D9345BD-EE21-4E36-97A6-647437033A3B}"/>
                      </a:ext>
                    </a:extLst>
                  </p:cNvPr>
                  <p:cNvSpPr>
                    <a:spLocks noChangeArrowheads="1"/>
                  </p:cNvSpPr>
                  <p:nvPr/>
                </p:nvSpPr>
                <p:spPr bwMode="auto">
                  <a:xfrm>
                    <a:off x="5589588" y="2597151"/>
                    <a:ext cx="58738" cy="60325"/>
                  </a:xfrm>
                  <a:prstGeom prst="ellipse">
                    <a:avLst/>
                  </a:prstGeom>
                  <a:noFill/>
                  <a:ln w="25400" cap="rnd">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35" name="Oval 103">
                    <a:extLst>
                      <a:ext uri="{FF2B5EF4-FFF2-40B4-BE49-F238E27FC236}">
                        <a16:creationId xmlns:a16="http://schemas.microsoft.com/office/drawing/2014/main" id="{96263881-9FAE-4A12-8826-3A101C849665}"/>
                      </a:ext>
                    </a:extLst>
                  </p:cNvPr>
                  <p:cNvSpPr>
                    <a:spLocks noChangeArrowheads="1"/>
                  </p:cNvSpPr>
                  <p:nvPr/>
                </p:nvSpPr>
                <p:spPr bwMode="auto">
                  <a:xfrm>
                    <a:off x="5749925" y="2616201"/>
                    <a:ext cx="180975" cy="180975"/>
                  </a:xfrm>
                  <a:prstGeom prst="ellipse">
                    <a:avLst/>
                  </a:prstGeom>
                  <a:noFill/>
                  <a:ln w="25400" cap="rnd">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37" name="Freeform 104">
                    <a:extLst>
                      <a:ext uri="{FF2B5EF4-FFF2-40B4-BE49-F238E27FC236}">
                        <a16:creationId xmlns:a16="http://schemas.microsoft.com/office/drawing/2014/main" id="{2D60B638-B5AF-4EBA-9CAA-67494C7C6EAC}"/>
                      </a:ext>
                    </a:extLst>
                  </p:cNvPr>
                  <p:cNvSpPr>
                    <a:spLocks/>
                  </p:cNvSpPr>
                  <p:nvPr/>
                </p:nvSpPr>
                <p:spPr bwMode="auto">
                  <a:xfrm>
                    <a:off x="5840413" y="2616201"/>
                    <a:ext cx="87313" cy="90488"/>
                  </a:xfrm>
                  <a:custGeom>
                    <a:avLst/>
                    <a:gdLst>
                      <a:gd name="T0" fmla="*/ 0 w 55"/>
                      <a:gd name="T1" fmla="*/ 0 h 57"/>
                      <a:gd name="T2" fmla="*/ 0 w 55"/>
                      <a:gd name="T3" fmla="*/ 57 h 57"/>
                      <a:gd name="T4" fmla="*/ 55 w 55"/>
                      <a:gd name="T5" fmla="*/ 45 h 57"/>
                    </a:gdLst>
                    <a:ahLst/>
                    <a:cxnLst>
                      <a:cxn ang="0">
                        <a:pos x="T0" y="T1"/>
                      </a:cxn>
                      <a:cxn ang="0">
                        <a:pos x="T2" y="T3"/>
                      </a:cxn>
                      <a:cxn ang="0">
                        <a:pos x="T4" y="T5"/>
                      </a:cxn>
                    </a:cxnLst>
                    <a:rect l="0" t="0" r="r" b="b"/>
                    <a:pathLst>
                      <a:path w="55" h="57">
                        <a:moveTo>
                          <a:pt x="0" y="0"/>
                        </a:moveTo>
                        <a:lnTo>
                          <a:pt x="0" y="57"/>
                        </a:lnTo>
                        <a:lnTo>
                          <a:pt x="55" y="45"/>
                        </a:lnTo>
                      </a:path>
                    </a:pathLst>
                  </a:custGeom>
                  <a:noFill/>
                  <a:ln w="25400" cap="rnd">
                    <a:solidFill>
                      <a:schemeClr val="bg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39" name="Line 105">
                    <a:extLst>
                      <a:ext uri="{FF2B5EF4-FFF2-40B4-BE49-F238E27FC236}">
                        <a16:creationId xmlns:a16="http://schemas.microsoft.com/office/drawing/2014/main" id="{4E1EA1AB-1CBC-4131-8046-E40AC772AB34}"/>
                      </a:ext>
                    </a:extLst>
                  </p:cNvPr>
                  <p:cNvSpPr>
                    <a:spLocks noChangeShapeType="1"/>
                  </p:cNvSpPr>
                  <p:nvPr/>
                </p:nvSpPr>
                <p:spPr bwMode="auto">
                  <a:xfrm>
                    <a:off x="5840413" y="2706688"/>
                    <a:ext cx="63500" cy="63500"/>
                  </a:xfrm>
                  <a:prstGeom prst="line">
                    <a:avLst/>
                  </a:prstGeom>
                  <a:noFill/>
                  <a:ln w="25400"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44" name="Line 106">
                    <a:extLst>
                      <a:ext uri="{FF2B5EF4-FFF2-40B4-BE49-F238E27FC236}">
                        <a16:creationId xmlns:a16="http://schemas.microsoft.com/office/drawing/2014/main" id="{CB6431DE-A3D7-40CD-8788-A8DA3960639D}"/>
                      </a:ext>
                    </a:extLst>
                  </p:cNvPr>
                  <p:cNvSpPr>
                    <a:spLocks noChangeShapeType="1"/>
                  </p:cNvSpPr>
                  <p:nvPr/>
                </p:nvSpPr>
                <p:spPr bwMode="auto">
                  <a:xfrm flipV="1">
                    <a:off x="5281613" y="2684463"/>
                    <a:ext cx="58738" cy="85725"/>
                  </a:xfrm>
                  <a:prstGeom prst="line">
                    <a:avLst/>
                  </a:prstGeom>
                  <a:noFill/>
                  <a:ln w="25400" cap="rnd">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45" name="Line 107">
                    <a:extLst>
                      <a:ext uri="{FF2B5EF4-FFF2-40B4-BE49-F238E27FC236}">
                        <a16:creationId xmlns:a16="http://schemas.microsoft.com/office/drawing/2014/main" id="{6B2EAC07-AD0F-4A27-826F-38A2D3B75EE6}"/>
                      </a:ext>
                    </a:extLst>
                  </p:cNvPr>
                  <p:cNvSpPr>
                    <a:spLocks noChangeShapeType="1"/>
                  </p:cNvSpPr>
                  <p:nvPr/>
                </p:nvSpPr>
                <p:spPr bwMode="auto">
                  <a:xfrm>
                    <a:off x="5381625" y="2673351"/>
                    <a:ext cx="84138" cy="52388"/>
                  </a:xfrm>
                  <a:prstGeom prst="line">
                    <a:avLst/>
                  </a:prstGeom>
                  <a:noFill/>
                  <a:ln w="25400" cap="rnd">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46" name="Line 108">
                    <a:extLst>
                      <a:ext uri="{FF2B5EF4-FFF2-40B4-BE49-F238E27FC236}">
                        <a16:creationId xmlns:a16="http://schemas.microsoft.com/office/drawing/2014/main" id="{FCA49FA6-0AA4-47CF-B83D-0C4BC9F7F9A1}"/>
                      </a:ext>
                    </a:extLst>
                  </p:cNvPr>
                  <p:cNvSpPr>
                    <a:spLocks noChangeShapeType="1"/>
                  </p:cNvSpPr>
                  <p:nvPr/>
                </p:nvSpPr>
                <p:spPr bwMode="auto">
                  <a:xfrm flipV="1">
                    <a:off x="5518150" y="2649538"/>
                    <a:ext cx="82550" cy="76200"/>
                  </a:xfrm>
                  <a:prstGeom prst="line">
                    <a:avLst/>
                  </a:prstGeom>
                  <a:noFill/>
                  <a:ln w="25400" cap="rnd">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grpSp>
          </p:grpSp>
          <p:grpSp>
            <p:nvGrpSpPr>
              <p:cNvPr id="191" name="Group 190">
                <a:extLst>
                  <a:ext uri="{FF2B5EF4-FFF2-40B4-BE49-F238E27FC236}">
                    <a16:creationId xmlns:a16="http://schemas.microsoft.com/office/drawing/2014/main" id="{746CC3C6-2240-4AF5-A509-64BE17D1A9DC}"/>
                  </a:ext>
                </a:extLst>
              </p:cNvPr>
              <p:cNvGrpSpPr/>
              <p:nvPr/>
            </p:nvGrpSpPr>
            <p:grpSpPr>
              <a:xfrm>
                <a:off x="7664687" y="3575841"/>
                <a:ext cx="1139204" cy="1139205"/>
                <a:chOff x="7688511" y="3575841"/>
                <a:chExt cx="1139204" cy="1139205"/>
              </a:xfrm>
            </p:grpSpPr>
            <p:sp>
              <p:nvSpPr>
                <p:cNvPr id="207" name="Oval 206">
                  <a:extLst>
                    <a:ext uri="{FF2B5EF4-FFF2-40B4-BE49-F238E27FC236}">
                      <a16:creationId xmlns:a16="http://schemas.microsoft.com/office/drawing/2014/main" id="{4841F2CE-6494-4957-A9DD-5D0CFE7AAD2B}"/>
                    </a:ext>
                  </a:extLst>
                </p:cNvPr>
                <p:cNvSpPr/>
                <p:nvPr/>
              </p:nvSpPr>
              <p:spPr>
                <a:xfrm>
                  <a:off x="7688511" y="3575841"/>
                  <a:ext cx="1139204" cy="1139205"/>
                </a:xfrm>
                <a:prstGeom prst="ellipse">
                  <a:avLst/>
                </a:prstGeom>
                <a:solidFill>
                  <a:schemeClr val="accent2"/>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Segoe UI"/>
                    <a:ea typeface="+mn-ea"/>
                    <a:cs typeface="+mn-cs"/>
                  </a:endParaRPr>
                </a:p>
              </p:txBody>
            </p:sp>
            <p:grpSp>
              <p:nvGrpSpPr>
                <p:cNvPr id="208" name="Group 207">
                  <a:extLst>
                    <a:ext uri="{FF2B5EF4-FFF2-40B4-BE49-F238E27FC236}">
                      <a16:creationId xmlns:a16="http://schemas.microsoft.com/office/drawing/2014/main" id="{DE04F24E-2B7A-4C00-927A-CC91305FBAB3}"/>
                    </a:ext>
                  </a:extLst>
                </p:cNvPr>
                <p:cNvGrpSpPr/>
                <p:nvPr/>
              </p:nvGrpSpPr>
              <p:grpSpPr>
                <a:xfrm>
                  <a:off x="7963206" y="3928415"/>
                  <a:ext cx="589815" cy="434056"/>
                  <a:chOff x="4022725" y="2533651"/>
                  <a:chExt cx="901700" cy="663575"/>
                </a:xfrm>
              </p:grpSpPr>
              <p:sp>
                <p:nvSpPr>
                  <p:cNvPr id="209" name="Rectangle 5">
                    <a:extLst>
                      <a:ext uri="{FF2B5EF4-FFF2-40B4-BE49-F238E27FC236}">
                        <a16:creationId xmlns:a16="http://schemas.microsoft.com/office/drawing/2014/main" id="{38C073F0-0487-4BB9-B93D-1A9BE41B6152}"/>
                      </a:ext>
                    </a:extLst>
                  </p:cNvPr>
                  <p:cNvSpPr>
                    <a:spLocks noChangeArrowheads="1"/>
                  </p:cNvSpPr>
                  <p:nvPr/>
                </p:nvSpPr>
                <p:spPr bwMode="auto">
                  <a:xfrm>
                    <a:off x="4022725" y="2533651"/>
                    <a:ext cx="901700" cy="663575"/>
                  </a:xfrm>
                  <a:prstGeom prst="rect">
                    <a:avLst/>
                  </a:prstGeom>
                  <a:noFill/>
                  <a:ln w="2540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10" name="Line 6">
                    <a:extLst>
                      <a:ext uri="{FF2B5EF4-FFF2-40B4-BE49-F238E27FC236}">
                        <a16:creationId xmlns:a16="http://schemas.microsoft.com/office/drawing/2014/main" id="{E1BCE292-5A62-4099-8742-E12DA336FC0E}"/>
                      </a:ext>
                    </a:extLst>
                  </p:cNvPr>
                  <p:cNvSpPr>
                    <a:spLocks noChangeShapeType="1"/>
                  </p:cNvSpPr>
                  <p:nvPr/>
                </p:nvSpPr>
                <p:spPr bwMode="auto">
                  <a:xfrm>
                    <a:off x="4022725" y="2654301"/>
                    <a:ext cx="901700" cy="0"/>
                  </a:xfrm>
                  <a:prstGeom prst="line">
                    <a:avLst/>
                  </a:prstGeom>
                  <a:noFill/>
                  <a:ln w="25400" cap="flat">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11" name="Oval 7">
                    <a:extLst>
                      <a:ext uri="{FF2B5EF4-FFF2-40B4-BE49-F238E27FC236}">
                        <a16:creationId xmlns:a16="http://schemas.microsoft.com/office/drawing/2014/main" id="{EB06C75F-D364-4EBE-8183-FA95C3DE8CD1}"/>
                      </a:ext>
                    </a:extLst>
                  </p:cNvPr>
                  <p:cNvSpPr>
                    <a:spLocks noChangeArrowheads="1"/>
                  </p:cNvSpPr>
                  <p:nvPr/>
                </p:nvSpPr>
                <p:spPr bwMode="auto">
                  <a:xfrm>
                    <a:off x="4067175" y="2578101"/>
                    <a:ext cx="30163" cy="30163"/>
                  </a:xfrm>
                  <a:prstGeom prst="ellipse">
                    <a:avLst/>
                  </a:prstGeom>
                  <a:solidFill>
                    <a:schemeClr val="bg1"/>
                  </a:solidFill>
                  <a:ln w="25400">
                    <a:solidFill>
                      <a:schemeClr val="bg2"/>
                    </a:solidFill>
                    <a:round/>
                    <a:headEnd/>
                    <a:tailEnd/>
                  </a:ln>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12" name="Oval 8">
                    <a:extLst>
                      <a:ext uri="{FF2B5EF4-FFF2-40B4-BE49-F238E27FC236}">
                        <a16:creationId xmlns:a16="http://schemas.microsoft.com/office/drawing/2014/main" id="{52E38AEA-053B-40C1-8EDB-1DA692476296}"/>
                      </a:ext>
                    </a:extLst>
                  </p:cNvPr>
                  <p:cNvSpPr>
                    <a:spLocks noChangeArrowheads="1"/>
                  </p:cNvSpPr>
                  <p:nvPr/>
                </p:nvSpPr>
                <p:spPr bwMode="auto">
                  <a:xfrm>
                    <a:off x="4127500" y="2578101"/>
                    <a:ext cx="30163" cy="30163"/>
                  </a:xfrm>
                  <a:prstGeom prst="ellipse">
                    <a:avLst/>
                  </a:prstGeom>
                  <a:solidFill>
                    <a:schemeClr val="bg1"/>
                  </a:solidFill>
                  <a:ln w="25400">
                    <a:solidFill>
                      <a:schemeClr val="bg2"/>
                    </a:solidFill>
                    <a:round/>
                    <a:headEnd/>
                    <a:tailEnd/>
                  </a:ln>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13" name="Oval 9">
                    <a:extLst>
                      <a:ext uri="{FF2B5EF4-FFF2-40B4-BE49-F238E27FC236}">
                        <a16:creationId xmlns:a16="http://schemas.microsoft.com/office/drawing/2014/main" id="{73EDD338-A8B2-4879-B7B1-8D476C5B0BB8}"/>
                      </a:ext>
                    </a:extLst>
                  </p:cNvPr>
                  <p:cNvSpPr>
                    <a:spLocks noChangeArrowheads="1"/>
                  </p:cNvSpPr>
                  <p:nvPr/>
                </p:nvSpPr>
                <p:spPr bwMode="auto">
                  <a:xfrm>
                    <a:off x="4187825" y="2578101"/>
                    <a:ext cx="30163" cy="30163"/>
                  </a:xfrm>
                  <a:prstGeom prst="ellipse">
                    <a:avLst/>
                  </a:prstGeom>
                  <a:solidFill>
                    <a:schemeClr val="bg1"/>
                  </a:solidFill>
                  <a:ln w="25400">
                    <a:solidFill>
                      <a:schemeClr val="bg2"/>
                    </a:solidFill>
                    <a:round/>
                    <a:headEnd/>
                    <a:tailEnd/>
                  </a:ln>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14" name="Freeform 10">
                    <a:extLst>
                      <a:ext uri="{FF2B5EF4-FFF2-40B4-BE49-F238E27FC236}">
                        <a16:creationId xmlns:a16="http://schemas.microsoft.com/office/drawing/2014/main" id="{948B42FD-2700-468C-B726-0F1AB66343A8}"/>
                      </a:ext>
                    </a:extLst>
                  </p:cNvPr>
                  <p:cNvSpPr>
                    <a:spLocks/>
                  </p:cNvSpPr>
                  <p:nvPr/>
                </p:nvSpPr>
                <p:spPr bwMode="auto">
                  <a:xfrm>
                    <a:off x="4578350" y="2811463"/>
                    <a:ext cx="165100" cy="212725"/>
                  </a:xfrm>
                  <a:custGeom>
                    <a:avLst/>
                    <a:gdLst>
                      <a:gd name="T0" fmla="*/ 0 w 104"/>
                      <a:gd name="T1" fmla="*/ 0 h 134"/>
                      <a:gd name="T2" fmla="*/ 104 w 104"/>
                      <a:gd name="T3" fmla="*/ 67 h 134"/>
                      <a:gd name="T4" fmla="*/ 0 w 104"/>
                      <a:gd name="T5" fmla="*/ 134 h 134"/>
                    </a:gdLst>
                    <a:ahLst/>
                    <a:cxnLst>
                      <a:cxn ang="0">
                        <a:pos x="T0" y="T1"/>
                      </a:cxn>
                      <a:cxn ang="0">
                        <a:pos x="T2" y="T3"/>
                      </a:cxn>
                      <a:cxn ang="0">
                        <a:pos x="T4" y="T5"/>
                      </a:cxn>
                    </a:cxnLst>
                    <a:rect l="0" t="0" r="r" b="b"/>
                    <a:pathLst>
                      <a:path w="104" h="134">
                        <a:moveTo>
                          <a:pt x="0" y="0"/>
                        </a:moveTo>
                        <a:lnTo>
                          <a:pt x="104" y="67"/>
                        </a:lnTo>
                        <a:lnTo>
                          <a:pt x="0" y="134"/>
                        </a:lnTo>
                      </a:path>
                    </a:pathLst>
                  </a:custGeom>
                  <a:noFill/>
                  <a:ln w="25400" cap="rnd">
                    <a:solidFill>
                      <a:schemeClr val="bg2"/>
                    </a:solidFill>
                    <a:prstDash val="solid"/>
                    <a:bevel/>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15" name="Freeform 11">
                    <a:extLst>
                      <a:ext uri="{FF2B5EF4-FFF2-40B4-BE49-F238E27FC236}">
                        <a16:creationId xmlns:a16="http://schemas.microsoft.com/office/drawing/2014/main" id="{3FB83CD1-7FF5-403B-B8B0-56756F6E9448}"/>
                      </a:ext>
                    </a:extLst>
                  </p:cNvPr>
                  <p:cNvSpPr>
                    <a:spLocks/>
                  </p:cNvSpPr>
                  <p:nvPr/>
                </p:nvSpPr>
                <p:spPr bwMode="auto">
                  <a:xfrm>
                    <a:off x="4203700" y="2811463"/>
                    <a:ext cx="165100" cy="212725"/>
                  </a:xfrm>
                  <a:custGeom>
                    <a:avLst/>
                    <a:gdLst>
                      <a:gd name="T0" fmla="*/ 104 w 104"/>
                      <a:gd name="T1" fmla="*/ 134 h 134"/>
                      <a:gd name="T2" fmla="*/ 0 w 104"/>
                      <a:gd name="T3" fmla="*/ 67 h 134"/>
                      <a:gd name="T4" fmla="*/ 104 w 104"/>
                      <a:gd name="T5" fmla="*/ 0 h 134"/>
                    </a:gdLst>
                    <a:ahLst/>
                    <a:cxnLst>
                      <a:cxn ang="0">
                        <a:pos x="T0" y="T1"/>
                      </a:cxn>
                      <a:cxn ang="0">
                        <a:pos x="T2" y="T3"/>
                      </a:cxn>
                      <a:cxn ang="0">
                        <a:pos x="T4" y="T5"/>
                      </a:cxn>
                    </a:cxnLst>
                    <a:rect l="0" t="0" r="r" b="b"/>
                    <a:pathLst>
                      <a:path w="104" h="134">
                        <a:moveTo>
                          <a:pt x="104" y="134"/>
                        </a:moveTo>
                        <a:lnTo>
                          <a:pt x="0" y="67"/>
                        </a:lnTo>
                        <a:lnTo>
                          <a:pt x="104" y="0"/>
                        </a:lnTo>
                      </a:path>
                    </a:pathLst>
                  </a:custGeom>
                  <a:noFill/>
                  <a:ln w="25400" cap="rnd">
                    <a:solidFill>
                      <a:schemeClr val="bg2"/>
                    </a:solidFill>
                    <a:prstDash val="solid"/>
                    <a:bevel/>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16" name="Line 12">
                    <a:extLst>
                      <a:ext uri="{FF2B5EF4-FFF2-40B4-BE49-F238E27FC236}">
                        <a16:creationId xmlns:a16="http://schemas.microsoft.com/office/drawing/2014/main" id="{0F121C29-E72F-42D8-ADCC-017C47EE1BBE}"/>
                      </a:ext>
                    </a:extLst>
                  </p:cNvPr>
                  <p:cNvSpPr>
                    <a:spLocks noChangeShapeType="1"/>
                  </p:cNvSpPr>
                  <p:nvPr/>
                </p:nvSpPr>
                <p:spPr bwMode="auto">
                  <a:xfrm flipH="1">
                    <a:off x="4443413" y="2767013"/>
                    <a:ext cx="60325" cy="257175"/>
                  </a:xfrm>
                  <a:prstGeom prst="line">
                    <a:avLst/>
                  </a:prstGeom>
                  <a:noFill/>
                  <a:ln w="25400" cap="rnd">
                    <a:solidFill>
                      <a:schemeClr val="bg2"/>
                    </a:solidFill>
                    <a:prstDash val="solid"/>
                    <a:bevel/>
                    <a:headEnd/>
                    <a:tailEnd/>
                  </a:ln>
                  <a:extLst>
                    <a:ext uri="{909E8E84-426E-40DD-AFC4-6F175D3DCCD1}">
                      <a14:hiddenFill xmlns:a14="http://schemas.microsoft.com/office/drawing/2010/main">
                        <a:noFill/>
                      </a14:hiddenFill>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grpSp>
          </p:grpSp>
          <p:grpSp>
            <p:nvGrpSpPr>
              <p:cNvPr id="192" name="Group 191">
                <a:extLst>
                  <a:ext uri="{FF2B5EF4-FFF2-40B4-BE49-F238E27FC236}">
                    <a16:creationId xmlns:a16="http://schemas.microsoft.com/office/drawing/2014/main" id="{B04E6AB6-CDCC-4345-B1E6-231F05F4EC7A}"/>
                  </a:ext>
                </a:extLst>
              </p:cNvPr>
              <p:cNvGrpSpPr/>
              <p:nvPr/>
            </p:nvGrpSpPr>
            <p:grpSpPr>
              <a:xfrm>
                <a:off x="4804481" y="3575841"/>
                <a:ext cx="1139204" cy="1139205"/>
                <a:chOff x="2010343" y="3555916"/>
                <a:chExt cx="1139204" cy="1139205"/>
              </a:xfrm>
            </p:grpSpPr>
            <p:sp>
              <p:nvSpPr>
                <p:cNvPr id="205" name="Oval 204">
                  <a:extLst>
                    <a:ext uri="{FF2B5EF4-FFF2-40B4-BE49-F238E27FC236}">
                      <a16:creationId xmlns:a16="http://schemas.microsoft.com/office/drawing/2014/main" id="{A8F1E5C1-8D0C-4830-A8E3-013E58AD6CF6}"/>
                    </a:ext>
                  </a:extLst>
                </p:cNvPr>
                <p:cNvSpPr/>
                <p:nvPr/>
              </p:nvSpPr>
              <p:spPr>
                <a:xfrm>
                  <a:off x="2010343" y="3555916"/>
                  <a:ext cx="1139204" cy="1139205"/>
                </a:xfrm>
                <a:prstGeom prst="ellipse">
                  <a:avLst/>
                </a:prstGeom>
                <a:solidFill>
                  <a:schemeClr val="accent2"/>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Segoe UI"/>
                    <a:ea typeface="+mn-ea"/>
                    <a:cs typeface="+mn-cs"/>
                  </a:endParaRPr>
                </a:p>
              </p:txBody>
            </p:sp>
            <p:pic>
              <p:nvPicPr>
                <p:cNvPr id="206" name="Picture 205">
                  <a:extLst>
                    <a:ext uri="{FF2B5EF4-FFF2-40B4-BE49-F238E27FC236}">
                      <a16:creationId xmlns:a16="http://schemas.microsoft.com/office/drawing/2014/main" id="{9F936CB6-10B0-4B48-87A1-833119436427}"/>
                    </a:ext>
                  </a:extLst>
                </p:cNvPr>
                <p:cNvPicPr>
                  <a:picLocks noChangeAspect="1"/>
                </p:cNvPicPr>
                <p:nvPr/>
              </p:nvPicPr>
              <p:blipFill>
                <a:blip r:embed="rId8">
                  <a:biLevel thresh="25000"/>
                  <a:extLst>
                    <a:ext uri="{28A0092B-C50C-407E-A947-70E740481C1C}">
                      <a14:useLocalDpi xmlns:a14="http://schemas.microsoft.com/office/drawing/2010/main" val="0"/>
                    </a:ext>
                  </a:extLst>
                </a:blip>
                <a:stretch>
                  <a:fillRect/>
                </a:stretch>
              </p:blipFill>
              <p:spPr>
                <a:xfrm>
                  <a:off x="2285382" y="3848401"/>
                  <a:ext cx="589126" cy="503435"/>
                </a:xfrm>
                <a:prstGeom prst="rect">
                  <a:avLst/>
                </a:prstGeom>
              </p:spPr>
            </p:pic>
          </p:grpSp>
          <p:grpSp>
            <p:nvGrpSpPr>
              <p:cNvPr id="193" name="Group 192">
                <a:extLst>
                  <a:ext uri="{FF2B5EF4-FFF2-40B4-BE49-F238E27FC236}">
                    <a16:creationId xmlns:a16="http://schemas.microsoft.com/office/drawing/2014/main" id="{1C2BE748-62EC-407E-8F98-A64EDC7B27CD}"/>
                  </a:ext>
                </a:extLst>
              </p:cNvPr>
              <p:cNvGrpSpPr/>
              <p:nvPr/>
            </p:nvGrpSpPr>
            <p:grpSpPr>
              <a:xfrm>
                <a:off x="10524893" y="3575841"/>
                <a:ext cx="1139204" cy="1139205"/>
                <a:chOff x="10392378" y="4100076"/>
                <a:chExt cx="1139204" cy="1139205"/>
              </a:xfrm>
            </p:grpSpPr>
            <p:sp>
              <p:nvSpPr>
                <p:cNvPr id="203" name="Oval 202">
                  <a:extLst>
                    <a:ext uri="{FF2B5EF4-FFF2-40B4-BE49-F238E27FC236}">
                      <a16:creationId xmlns:a16="http://schemas.microsoft.com/office/drawing/2014/main" id="{9C4E1C71-BD0D-4DF5-846C-551F42E698C0}"/>
                    </a:ext>
                  </a:extLst>
                </p:cNvPr>
                <p:cNvSpPr/>
                <p:nvPr/>
              </p:nvSpPr>
              <p:spPr>
                <a:xfrm>
                  <a:off x="10392378" y="4100076"/>
                  <a:ext cx="1139204" cy="1139205"/>
                </a:xfrm>
                <a:prstGeom prst="ellipse">
                  <a:avLst/>
                </a:prstGeom>
                <a:solidFill>
                  <a:schemeClr val="accent2"/>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Segoe UI"/>
                    <a:ea typeface="+mn-ea"/>
                    <a:cs typeface="+mn-cs"/>
                  </a:endParaRPr>
                </a:p>
              </p:txBody>
            </p:sp>
            <p:pic>
              <p:nvPicPr>
                <p:cNvPr id="204" name="Picture 203">
                  <a:extLst>
                    <a:ext uri="{FF2B5EF4-FFF2-40B4-BE49-F238E27FC236}">
                      <a16:creationId xmlns:a16="http://schemas.microsoft.com/office/drawing/2014/main" id="{D067D027-B540-4331-A97A-5216BBBBDBB7}"/>
                    </a:ext>
                  </a:extLst>
                </p:cNvPr>
                <p:cNvPicPr>
                  <a:picLocks noChangeAspect="1"/>
                </p:cNvPicPr>
                <p:nvPr/>
              </p:nvPicPr>
              <p:blipFill>
                <a:blip r:embed="rId9">
                  <a:biLevel thresh="25000"/>
                  <a:extLst>
                    <a:ext uri="{28A0092B-C50C-407E-A947-70E740481C1C}">
                      <a14:useLocalDpi xmlns:a14="http://schemas.microsoft.com/office/drawing/2010/main" val="0"/>
                    </a:ext>
                  </a:extLst>
                </a:blip>
                <a:stretch>
                  <a:fillRect/>
                </a:stretch>
              </p:blipFill>
              <p:spPr>
                <a:xfrm>
                  <a:off x="10637702" y="4355534"/>
                  <a:ext cx="648556" cy="628289"/>
                </a:xfrm>
                <a:prstGeom prst="rect">
                  <a:avLst/>
                </a:prstGeom>
              </p:spPr>
            </p:pic>
          </p:grpSp>
          <p:grpSp>
            <p:nvGrpSpPr>
              <p:cNvPr id="194" name="Group 193">
                <a:extLst>
                  <a:ext uri="{FF2B5EF4-FFF2-40B4-BE49-F238E27FC236}">
                    <a16:creationId xmlns:a16="http://schemas.microsoft.com/office/drawing/2014/main" id="{06AA23D5-795C-4986-A6BE-D74FF1DA3BB3}"/>
                  </a:ext>
                </a:extLst>
              </p:cNvPr>
              <p:cNvGrpSpPr/>
              <p:nvPr/>
            </p:nvGrpSpPr>
            <p:grpSpPr>
              <a:xfrm>
                <a:off x="1944275" y="3575841"/>
                <a:ext cx="1139204" cy="1139205"/>
                <a:chOff x="1975947" y="3575841"/>
                <a:chExt cx="1139204" cy="1139205"/>
              </a:xfrm>
            </p:grpSpPr>
            <p:sp>
              <p:nvSpPr>
                <p:cNvPr id="201" name="Oval 200">
                  <a:extLst>
                    <a:ext uri="{FF2B5EF4-FFF2-40B4-BE49-F238E27FC236}">
                      <a16:creationId xmlns:a16="http://schemas.microsoft.com/office/drawing/2014/main" id="{1B4AD967-D6C2-467B-ADEB-6809FCD25725}"/>
                    </a:ext>
                  </a:extLst>
                </p:cNvPr>
                <p:cNvSpPr/>
                <p:nvPr/>
              </p:nvSpPr>
              <p:spPr>
                <a:xfrm>
                  <a:off x="1975947" y="3575841"/>
                  <a:ext cx="1139204" cy="1139205"/>
                </a:xfrm>
                <a:prstGeom prst="ellipse">
                  <a:avLst/>
                </a:prstGeom>
                <a:solidFill>
                  <a:schemeClr val="accent2"/>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Segoe UI"/>
                    <a:ea typeface="+mn-ea"/>
                    <a:cs typeface="+mn-cs"/>
                  </a:endParaRPr>
                </a:p>
              </p:txBody>
            </p:sp>
            <p:pic>
              <p:nvPicPr>
                <p:cNvPr id="202" name="Picture 201">
                  <a:extLst>
                    <a:ext uri="{FF2B5EF4-FFF2-40B4-BE49-F238E27FC236}">
                      <a16:creationId xmlns:a16="http://schemas.microsoft.com/office/drawing/2014/main" id="{042DDEB9-38F3-42AB-8B9C-32079A341A8E}"/>
                    </a:ext>
                  </a:extLst>
                </p:cNvPr>
                <p:cNvPicPr>
                  <a:picLocks noChangeAspect="1"/>
                </p:cNvPicPr>
                <p:nvPr/>
              </p:nvPicPr>
              <p:blipFill>
                <a:blip r:embed="rId10">
                  <a:biLevel thresh="25000"/>
                  <a:extLst>
                    <a:ext uri="{28A0092B-C50C-407E-A947-70E740481C1C}">
                      <a14:useLocalDpi xmlns:a14="http://schemas.microsoft.com/office/drawing/2010/main" val="0"/>
                    </a:ext>
                  </a:extLst>
                </a:blip>
                <a:stretch>
                  <a:fillRect/>
                </a:stretch>
              </p:blipFill>
              <p:spPr>
                <a:xfrm>
                  <a:off x="2279918" y="3827840"/>
                  <a:ext cx="531263" cy="635206"/>
                </a:xfrm>
                <a:prstGeom prst="rect">
                  <a:avLst/>
                </a:prstGeom>
              </p:spPr>
            </p:pic>
          </p:grpSp>
          <p:grpSp>
            <p:nvGrpSpPr>
              <p:cNvPr id="195" name="Group 194">
                <a:extLst>
                  <a:ext uri="{FF2B5EF4-FFF2-40B4-BE49-F238E27FC236}">
                    <a16:creationId xmlns:a16="http://schemas.microsoft.com/office/drawing/2014/main" id="{BC67E7DE-22D6-48D2-9688-C24AAB6D54C6}"/>
                  </a:ext>
                </a:extLst>
              </p:cNvPr>
              <p:cNvGrpSpPr/>
              <p:nvPr/>
            </p:nvGrpSpPr>
            <p:grpSpPr>
              <a:xfrm>
                <a:off x="3374378" y="3575841"/>
                <a:ext cx="1139204" cy="1139205"/>
                <a:chOff x="3404088" y="3575841"/>
                <a:chExt cx="1139204" cy="1139205"/>
              </a:xfrm>
            </p:grpSpPr>
            <p:sp>
              <p:nvSpPr>
                <p:cNvPr id="199" name="Oval 198">
                  <a:extLst>
                    <a:ext uri="{FF2B5EF4-FFF2-40B4-BE49-F238E27FC236}">
                      <a16:creationId xmlns:a16="http://schemas.microsoft.com/office/drawing/2014/main" id="{8826A1A9-B38A-4F7E-9871-D1A1D6FBBE72}"/>
                    </a:ext>
                  </a:extLst>
                </p:cNvPr>
                <p:cNvSpPr/>
                <p:nvPr/>
              </p:nvSpPr>
              <p:spPr>
                <a:xfrm>
                  <a:off x="3404088" y="3575841"/>
                  <a:ext cx="1139204" cy="1139205"/>
                </a:xfrm>
                <a:prstGeom prst="ellipse">
                  <a:avLst/>
                </a:prstGeom>
                <a:solidFill>
                  <a:schemeClr val="accent2"/>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Segoe UI"/>
                    <a:ea typeface="+mn-ea"/>
                    <a:cs typeface="+mn-cs"/>
                  </a:endParaRPr>
                </a:p>
              </p:txBody>
            </p:sp>
            <p:pic>
              <p:nvPicPr>
                <p:cNvPr id="200" name="Picture 199" descr="A close up of a sign&#10;&#10;Description generated with very high confidence">
                  <a:extLst>
                    <a:ext uri="{FF2B5EF4-FFF2-40B4-BE49-F238E27FC236}">
                      <a16:creationId xmlns:a16="http://schemas.microsoft.com/office/drawing/2014/main" id="{E5590791-5B1A-4E43-9A69-A34D2B442F56}"/>
                    </a:ext>
                  </a:extLst>
                </p:cNvPr>
                <p:cNvPicPr>
                  <a:picLocks noChangeAspect="1"/>
                </p:cNvPicPr>
                <p:nvPr/>
              </p:nvPicPr>
              <p:blipFill>
                <a:blip r:embed="rId11">
                  <a:biLevel thresh="25000"/>
                  <a:extLst>
                    <a:ext uri="{28A0092B-C50C-407E-A947-70E740481C1C}">
                      <a14:useLocalDpi xmlns:a14="http://schemas.microsoft.com/office/drawing/2010/main" val="0"/>
                    </a:ext>
                  </a:extLst>
                </a:blip>
                <a:stretch>
                  <a:fillRect/>
                </a:stretch>
              </p:blipFill>
              <p:spPr>
                <a:xfrm>
                  <a:off x="3678905" y="3845661"/>
                  <a:ext cx="589571" cy="599564"/>
                </a:xfrm>
                <a:prstGeom prst="rect">
                  <a:avLst/>
                </a:prstGeom>
              </p:spPr>
            </p:pic>
          </p:grpSp>
          <p:grpSp>
            <p:nvGrpSpPr>
              <p:cNvPr id="196" name="Group 195">
                <a:extLst>
                  <a:ext uri="{FF2B5EF4-FFF2-40B4-BE49-F238E27FC236}">
                    <a16:creationId xmlns:a16="http://schemas.microsoft.com/office/drawing/2014/main" id="{0A46BCD1-1D0E-4731-94A6-5791B879FA44}"/>
                  </a:ext>
                </a:extLst>
              </p:cNvPr>
              <p:cNvGrpSpPr/>
              <p:nvPr/>
            </p:nvGrpSpPr>
            <p:grpSpPr>
              <a:xfrm>
                <a:off x="9094790" y="3575841"/>
                <a:ext cx="1139204" cy="1139205"/>
                <a:chOff x="9116652" y="3575841"/>
                <a:chExt cx="1139204" cy="1139205"/>
              </a:xfrm>
            </p:grpSpPr>
            <p:sp>
              <p:nvSpPr>
                <p:cNvPr id="197" name="Oval 196">
                  <a:extLst>
                    <a:ext uri="{FF2B5EF4-FFF2-40B4-BE49-F238E27FC236}">
                      <a16:creationId xmlns:a16="http://schemas.microsoft.com/office/drawing/2014/main" id="{CC3AC306-0078-4C92-9F38-7241F329A0C4}"/>
                    </a:ext>
                  </a:extLst>
                </p:cNvPr>
                <p:cNvSpPr/>
                <p:nvPr/>
              </p:nvSpPr>
              <p:spPr>
                <a:xfrm>
                  <a:off x="9116652" y="3575841"/>
                  <a:ext cx="1139204" cy="1139205"/>
                </a:xfrm>
                <a:prstGeom prst="ellipse">
                  <a:avLst/>
                </a:prstGeom>
                <a:solidFill>
                  <a:schemeClr val="accent2"/>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Segoe UI"/>
                    <a:ea typeface="+mn-ea"/>
                    <a:cs typeface="+mn-cs"/>
                  </a:endParaRPr>
                </a:p>
              </p:txBody>
            </p:sp>
            <p:pic>
              <p:nvPicPr>
                <p:cNvPr id="198" name="Picture 197" descr="A picture containing object&#10;&#10;Description generated with high confidence">
                  <a:extLst>
                    <a:ext uri="{FF2B5EF4-FFF2-40B4-BE49-F238E27FC236}">
                      <a16:creationId xmlns:a16="http://schemas.microsoft.com/office/drawing/2014/main" id="{B9833368-A716-45F7-BC8D-32FD67A0F8BC}"/>
                    </a:ext>
                  </a:extLst>
                </p:cNvPr>
                <p:cNvPicPr>
                  <a:picLocks noChangeAspect="1"/>
                </p:cNvPicPr>
                <p:nvPr/>
              </p:nvPicPr>
              <p:blipFill>
                <a:blip r:embed="rId12">
                  <a:biLevel thresh="25000"/>
                  <a:extLst>
                    <a:ext uri="{28A0092B-C50C-407E-A947-70E740481C1C}">
                      <a14:useLocalDpi xmlns:a14="http://schemas.microsoft.com/office/drawing/2010/main" val="0"/>
                    </a:ext>
                  </a:extLst>
                </a:blip>
                <a:stretch>
                  <a:fillRect/>
                </a:stretch>
              </p:blipFill>
              <p:spPr>
                <a:xfrm>
                  <a:off x="9375196" y="3828516"/>
                  <a:ext cx="622116" cy="633854"/>
                </a:xfrm>
                <a:prstGeom prst="rect">
                  <a:avLst/>
                </a:prstGeom>
              </p:spPr>
            </p:pic>
          </p:grpSp>
        </p:grpSp>
      </p:grpSp>
    </p:spTree>
    <p:extLst>
      <p:ext uri="{BB962C8B-B14F-4D97-AF65-F5344CB8AC3E}">
        <p14:creationId xmlns:p14="http://schemas.microsoft.com/office/powerpoint/2010/main" val="2031680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19248" y="1447799"/>
            <a:ext cx="11151917" cy="4001095"/>
          </a:xfrm>
        </p:spPr>
        <p:txBody>
          <a:bodyPr/>
          <a:lstStyle/>
          <a:p>
            <a:r>
              <a:rPr lang="en-US" dirty="0" smtClean="0"/>
              <a:t>There are 2 paths</a:t>
            </a:r>
          </a:p>
          <a:p>
            <a:pPr marL="571500" indent="-571500">
              <a:buFont typeface="Arial" panose="020B0604020202020204" pitchFamily="34" charset="0"/>
              <a:buChar char="•"/>
            </a:pPr>
            <a:r>
              <a:rPr lang="en-US" dirty="0" smtClean="0"/>
              <a:t>Technical Path</a:t>
            </a:r>
          </a:p>
          <a:p>
            <a:pPr marL="803275" lvl="2" indent="-571500">
              <a:buFont typeface="Arial" panose="020B0604020202020204" pitchFamily="34" charset="0"/>
              <a:buChar char="•"/>
            </a:pPr>
            <a:r>
              <a:rPr lang="en-US" dirty="0" smtClean="0"/>
              <a:t>Focused on follow-the-data from data source through data experience</a:t>
            </a:r>
          </a:p>
          <a:p>
            <a:pPr marL="803275" lvl="2" indent="-571500">
              <a:buFont typeface="Arial" panose="020B0604020202020204" pitchFamily="34" charset="0"/>
              <a:buChar char="•"/>
            </a:pPr>
            <a:r>
              <a:rPr lang="en-US" dirty="0" smtClean="0"/>
              <a:t>Technical resources will be introduced to a variety of Azure Products</a:t>
            </a:r>
          </a:p>
          <a:p>
            <a:pPr marL="571500" indent="-571500">
              <a:buFont typeface="Arial" panose="020B0604020202020204" pitchFamily="34" charset="0"/>
              <a:buChar char="•"/>
            </a:pPr>
            <a:r>
              <a:rPr lang="en-US" dirty="0" smtClean="0"/>
              <a:t>Business Path</a:t>
            </a:r>
          </a:p>
          <a:p>
            <a:pPr marL="803275" lvl="2" indent="-571500">
              <a:buFont typeface="Arial" panose="020B0604020202020204" pitchFamily="34" charset="0"/>
              <a:buChar char="•"/>
            </a:pPr>
            <a:r>
              <a:rPr lang="en-US" dirty="0" smtClean="0"/>
              <a:t>Concentrates on the business problem and how to socialize the results of machine learning</a:t>
            </a:r>
          </a:p>
          <a:p>
            <a:pPr marL="803275" lvl="2" indent="-571500">
              <a:buFont typeface="Arial" panose="020B0604020202020204" pitchFamily="34" charset="0"/>
              <a:buChar char="•"/>
            </a:pPr>
            <a:r>
              <a:rPr lang="en-US" dirty="0" smtClean="0"/>
              <a:t>Provides business users insight into the opportunities provided by data science</a:t>
            </a:r>
            <a:endParaRPr lang="en-US" dirty="0"/>
          </a:p>
        </p:txBody>
      </p:sp>
      <p:sp>
        <p:nvSpPr>
          <p:cNvPr id="3" name="Title 2"/>
          <p:cNvSpPr>
            <a:spLocks noGrp="1"/>
          </p:cNvSpPr>
          <p:nvPr>
            <p:ph type="title"/>
          </p:nvPr>
        </p:nvSpPr>
        <p:spPr/>
        <p:txBody>
          <a:bodyPr/>
          <a:lstStyle/>
          <a:p>
            <a:r>
              <a:rPr lang="en-US" dirty="0" smtClean="0"/>
              <a:t>Agenda</a:t>
            </a:r>
            <a:endParaRPr lang="en-US" dirty="0"/>
          </a:p>
        </p:txBody>
      </p:sp>
      <p:sp>
        <p:nvSpPr>
          <p:cNvPr id="4" name="Footer Placeholder 3"/>
          <p:cNvSpPr>
            <a:spLocks noGrp="1"/>
          </p:cNvSpPr>
          <p:nvPr>
            <p:ph type="ftr" sz="quarter" idx="3"/>
          </p:nvPr>
        </p:nvSpPr>
        <p:spPr/>
        <p:txBody>
          <a:bodyPr/>
          <a:lstStyle/>
          <a:p>
            <a:r>
              <a:rPr lang="en-US" smtClean="0"/>
              <a:t>Confidential</a:t>
            </a:r>
            <a:endParaRPr lang="en-US"/>
          </a:p>
        </p:txBody>
      </p:sp>
      <p:sp>
        <p:nvSpPr>
          <p:cNvPr id="5" name="Slide Number Placeholder 4"/>
          <p:cNvSpPr>
            <a:spLocks noGrp="1"/>
          </p:cNvSpPr>
          <p:nvPr>
            <p:ph type="sldNum" sz="quarter" idx="4"/>
          </p:nvPr>
        </p:nvSpPr>
        <p:spPr/>
        <p:txBody>
          <a:bodyPr/>
          <a:lstStyle/>
          <a:p>
            <a:pPr defTabSz="914363"/>
            <a:fld id="{727B4C2D-45E2-4621-8491-2995EB46A674}" type="slidenum">
              <a:rPr lang="en-US" smtClean="0"/>
              <a:pPr defTabSz="914363"/>
              <a:t>6</a:t>
            </a:fld>
            <a:endParaRPr lang="en-US"/>
          </a:p>
        </p:txBody>
      </p:sp>
    </p:spTree>
    <p:extLst>
      <p:ext uri="{BB962C8B-B14F-4D97-AF65-F5344CB8AC3E}">
        <p14:creationId xmlns:p14="http://schemas.microsoft.com/office/powerpoint/2010/main" val="3832938837"/>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19248" y="1447799"/>
            <a:ext cx="11151917" cy="4308872"/>
          </a:xfrm>
        </p:spPr>
        <p:txBody>
          <a:bodyPr/>
          <a:lstStyle/>
          <a:p>
            <a:r>
              <a:rPr lang="en-US" sz="2000" dirty="0" smtClean="0"/>
              <a:t>A marketing manager for a bike manufacturer has a limited budget to run a mailing campaign.  To maximize ROI, the marketing manager wants to send the campaigns to buyer most likely t make a purchase.</a:t>
            </a:r>
            <a:endParaRPr lang="en-US" sz="2000" dirty="0"/>
          </a:p>
          <a:p>
            <a:r>
              <a:rPr lang="en-US" sz="2000" b="1" dirty="0" smtClean="0"/>
              <a:t>Inputs</a:t>
            </a:r>
            <a:r>
              <a:rPr lang="en-US" sz="2000" dirty="0" smtClean="0"/>
              <a:t>:</a:t>
            </a:r>
          </a:p>
          <a:p>
            <a:pPr marL="342900" indent="-342900">
              <a:buFont typeface="Arial" panose="020B0604020202020204" pitchFamily="34" charset="0"/>
              <a:buChar char="•"/>
            </a:pPr>
            <a:r>
              <a:rPr lang="en-US" sz="2000" dirty="0" smtClean="0"/>
              <a:t>Sales transaction data about customers that bought bikes in the past</a:t>
            </a:r>
            <a:br>
              <a:rPr lang="en-US" sz="2000" dirty="0" smtClean="0"/>
            </a:br>
            <a:r>
              <a:rPr lang="en-US" sz="2000" dirty="0" smtClean="0"/>
              <a:t>Data from previous marketing campaigns showing which customers were targeted and whether they responded</a:t>
            </a:r>
            <a:br>
              <a:rPr lang="en-US" sz="2000" dirty="0" smtClean="0"/>
            </a:br>
            <a:r>
              <a:rPr lang="en-US" sz="2000" dirty="0" smtClean="0"/>
              <a:t>Consumer lists from a 3</a:t>
            </a:r>
            <a:r>
              <a:rPr lang="en-US" sz="2000" baseline="30000" dirty="0" smtClean="0"/>
              <a:t>rd</a:t>
            </a:r>
            <a:r>
              <a:rPr lang="en-US" sz="2000" dirty="0" smtClean="0"/>
              <a:t> party with demographic and credit history</a:t>
            </a:r>
            <a:endParaRPr lang="en-US" sz="2000" dirty="0"/>
          </a:p>
          <a:p>
            <a:r>
              <a:rPr lang="en-US" sz="2000" b="1" dirty="0" smtClean="0"/>
              <a:t>Outputs</a:t>
            </a:r>
            <a:r>
              <a:rPr lang="en-US" sz="2000" dirty="0" smtClean="0"/>
              <a:t>:</a:t>
            </a:r>
            <a:endParaRPr lang="en-US" sz="2000" dirty="0"/>
          </a:p>
          <a:p>
            <a:r>
              <a:rPr lang="en-US" sz="2000" dirty="0"/>
              <a:t>The training data has one output </a:t>
            </a:r>
            <a:r>
              <a:rPr lang="en-US" sz="2000" dirty="0" smtClean="0"/>
              <a:t>showing </a:t>
            </a:r>
            <a:r>
              <a:rPr lang="en-US" sz="2000" dirty="0"/>
              <a:t>whether the customer bought a bike or not.  The output of the </a:t>
            </a:r>
            <a:r>
              <a:rPr lang="en-US" sz="2000" dirty="0" smtClean="0"/>
              <a:t>model </a:t>
            </a:r>
            <a:r>
              <a:rPr lang="en-US" sz="2000" dirty="0"/>
              <a:t>shows the probability that the given customer will buy a bike</a:t>
            </a:r>
            <a:r>
              <a:rPr lang="en-US" sz="2000" dirty="0" smtClean="0"/>
              <a:t>.</a:t>
            </a:r>
            <a:endParaRPr lang="en-US" sz="2000" dirty="0"/>
          </a:p>
        </p:txBody>
      </p:sp>
      <p:sp>
        <p:nvSpPr>
          <p:cNvPr id="3" name="Title 2"/>
          <p:cNvSpPr>
            <a:spLocks noGrp="1"/>
          </p:cNvSpPr>
          <p:nvPr>
            <p:ph type="title"/>
          </p:nvPr>
        </p:nvSpPr>
        <p:spPr/>
        <p:txBody>
          <a:bodyPr/>
          <a:lstStyle/>
          <a:p>
            <a:r>
              <a:rPr lang="en-US" dirty="0" smtClean="0"/>
              <a:t>Use Case – Business Problem</a:t>
            </a:r>
            <a:br>
              <a:rPr lang="en-US" dirty="0" smtClean="0"/>
            </a:br>
            <a:r>
              <a:rPr lang="en-US" sz="3200" dirty="0" smtClean="0">
                <a:solidFill>
                  <a:schemeClr val="bg2">
                    <a:lumMod val="50000"/>
                  </a:schemeClr>
                </a:solidFill>
              </a:rPr>
              <a:t>Propensity Modeling</a:t>
            </a:r>
            <a:endParaRPr lang="en-US" sz="3200" dirty="0">
              <a:solidFill>
                <a:schemeClr val="bg2">
                  <a:lumMod val="50000"/>
                </a:schemeClr>
              </a:solidFill>
            </a:endParaRPr>
          </a:p>
        </p:txBody>
      </p:sp>
      <p:sp>
        <p:nvSpPr>
          <p:cNvPr id="4" name="Footer Placeholder 3"/>
          <p:cNvSpPr>
            <a:spLocks noGrp="1"/>
          </p:cNvSpPr>
          <p:nvPr>
            <p:ph type="ftr" sz="quarter" idx="3"/>
          </p:nvPr>
        </p:nvSpPr>
        <p:spPr/>
        <p:txBody>
          <a:bodyPr/>
          <a:lstStyle/>
          <a:p>
            <a:r>
              <a:rPr lang="en-US" smtClean="0"/>
              <a:t>Confidential</a:t>
            </a:r>
            <a:endParaRPr lang="en-US"/>
          </a:p>
        </p:txBody>
      </p:sp>
      <p:sp>
        <p:nvSpPr>
          <p:cNvPr id="5" name="Slide Number Placeholder 4"/>
          <p:cNvSpPr>
            <a:spLocks noGrp="1"/>
          </p:cNvSpPr>
          <p:nvPr>
            <p:ph type="sldNum" sz="quarter" idx="4"/>
          </p:nvPr>
        </p:nvSpPr>
        <p:spPr/>
        <p:txBody>
          <a:bodyPr/>
          <a:lstStyle/>
          <a:p>
            <a:pPr defTabSz="914363"/>
            <a:fld id="{727B4C2D-45E2-4621-8491-2995EB46A674}" type="slidenum">
              <a:rPr lang="en-US" smtClean="0"/>
              <a:pPr defTabSz="914363"/>
              <a:t>7</a:t>
            </a:fld>
            <a:endParaRPr lang="en-US"/>
          </a:p>
        </p:txBody>
      </p:sp>
    </p:spTree>
    <p:extLst>
      <p:ext uri="{BB962C8B-B14F-4D97-AF65-F5344CB8AC3E}">
        <p14:creationId xmlns:p14="http://schemas.microsoft.com/office/powerpoint/2010/main" val="229881492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lt;strong&gt;Office Building&lt;/strong&gt; Clipart - clipartsgram.com"/>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81725" y="2487692"/>
            <a:ext cx="2311918" cy="1695407"/>
          </a:xfrm>
          <a:prstGeom prst="rect">
            <a:avLst/>
          </a:prstGeom>
        </p:spPr>
      </p:pic>
      <p:sp>
        <p:nvSpPr>
          <p:cNvPr id="4" name="Right Arrow 3"/>
          <p:cNvSpPr/>
          <p:nvPr/>
        </p:nvSpPr>
        <p:spPr>
          <a:xfrm>
            <a:off x="1621108" y="3089366"/>
            <a:ext cx="1404257" cy="50074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Calls Company</a:t>
            </a:r>
            <a:endParaRPr lang="en-US" sz="1200" dirty="0"/>
          </a:p>
        </p:txBody>
      </p:sp>
      <p:sp>
        <p:nvSpPr>
          <p:cNvPr id="5" name="Right Arrow 4"/>
          <p:cNvSpPr/>
          <p:nvPr/>
        </p:nvSpPr>
        <p:spPr>
          <a:xfrm>
            <a:off x="5753651" y="3089366"/>
            <a:ext cx="2929198" cy="500741"/>
          </a:xfrm>
          <a:prstGeom prst="rightArrow">
            <a:avLst>
              <a:gd name="adj1" fmla="val 50000"/>
              <a:gd name="adj2" fmla="val 6404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p:cNvSpPr txBox="1"/>
          <p:nvPr/>
        </p:nvSpPr>
        <p:spPr>
          <a:xfrm>
            <a:off x="6204466" y="3196898"/>
            <a:ext cx="476795" cy="276999"/>
          </a:xfrm>
          <a:prstGeom prst="rect">
            <a:avLst/>
          </a:prstGeom>
          <a:noFill/>
        </p:spPr>
        <p:txBody>
          <a:bodyPr wrap="square" rtlCol="0">
            <a:spAutoFit/>
          </a:bodyPr>
          <a:lstStyle/>
          <a:p>
            <a:r>
              <a:rPr lang="en-US" sz="1200" b="1" dirty="0" smtClean="0">
                <a:solidFill>
                  <a:schemeClr val="bg1"/>
                </a:solidFill>
              </a:rPr>
              <a:t>CM</a:t>
            </a:r>
            <a:endParaRPr lang="en-US" sz="1200" b="1" dirty="0">
              <a:solidFill>
                <a:schemeClr val="bg1"/>
              </a:solidFill>
            </a:endParaRPr>
          </a:p>
        </p:txBody>
      </p:sp>
      <p:sp>
        <p:nvSpPr>
          <p:cNvPr id="17" name="TextBox 16"/>
          <p:cNvSpPr txBox="1"/>
          <p:nvPr/>
        </p:nvSpPr>
        <p:spPr>
          <a:xfrm>
            <a:off x="6974002" y="3196897"/>
            <a:ext cx="476795" cy="276999"/>
          </a:xfrm>
          <a:prstGeom prst="rect">
            <a:avLst/>
          </a:prstGeom>
          <a:noFill/>
        </p:spPr>
        <p:txBody>
          <a:bodyPr wrap="square" rtlCol="0">
            <a:spAutoFit/>
          </a:bodyPr>
          <a:lstStyle/>
          <a:p>
            <a:r>
              <a:rPr lang="en-US" sz="1200" b="1" dirty="0" smtClean="0">
                <a:solidFill>
                  <a:schemeClr val="bg1"/>
                </a:solidFill>
              </a:rPr>
              <a:t>SM</a:t>
            </a:r>
            <a:endParaRPr lang="en-US" sz="1200" b="1" dirty="0">
              <a:solidFill>
                <a:schemeClr val="bg1"/>
              </a:solidFill>
            </a:endParaRPr>
          </a:p>
        </p:txBody>
      </p:sp>
      <p:sp>
        <p:nvSpPr>
          <p:cNvPr id="18" name="TextBox 17"/>
          <p:cNvSpPr txBox="1"/>
          <p:nvPr/>
        </p:nvSpPr>
        <p:spPr>
          <a:xfrm>
            <a:off x="7828425" y="3196897"/>
            <a:ext cx="476795" cy="276999"/>
          </a:xfrm>
          <a:prstGeom prst="rect">
            <a:avLst/>
          </a:prstGeom>
          <a:noFill/>
        </p:spPr>
        <p:txBody>
          <a:bodyPr wrap="square" rtlCol="0">
            <a:spAutoFit/>
          </a:bodyPr>
          <a:lstStyle/>
          <a:p>
            <a:r>
              <a:rPr lang="en-US" sz="1200" b="1" dirty="0" smtClean="0">
                <a:solidFill>
                  <a:schemeClr val="bg1"/>
                </a:solidFill>
              </a:rPr>
              <a:t>PM</a:t>
            </a:r>
            <a:endParaRPr lang="en-US" sz="1200" b="1" dirty="0">
              <a:solidFill>
                <a:schemeClr val="bg1"/>
              </a:solidFill>
            </a:endParaRPr>
          </a:p>
        </p:txBody>
      </p:sp>
      <p:sp>
        <p:nvSpPr>
          <p:cNvPr id="19" name="Line Callout 1 18"/>
          <p:cNvSpPr/>
          <p:nvPr/>
        </p:nvSpPr>
        <p:spPr>
          <a:xfrm>
            <a:off x="5521967" y="4137666"/>
            <a:ext cx="1018903" cy="402785"/>
          </a:xfrm>
          <a:prstGeom prst="borderCallout1">
            <a:avLst>
              <a:gd name="adj1" fmla="val -26654"/>
              <a:gd name="adj2" fmla="val 56411"/>
              <a:gd name="adj3" fmla="val -152454"/>
              <a:gd name="adj4" fmla="val 8433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accent1"/>
                </a:solidFill>
              </a:rPr>
              <a:t>Churn Model</a:t>
            </a:r>
            <a:endParaRPr lang="en-US" sz="1200" dirty="0">
              <a:solidFill>
                <a:schemeClr val="accent1"/>
              </a:solidFill>
            </a:endParaRPr>
          </a:p>
        </p:txBody>
      </p:sp>
      <p:sp>
        <p:nvSpPr>
          <p:cNvPr id="21" name="Line Callout 1 20"/>
          <p:cNvSpPr/>
          <p:nvPr/>
        </p:nvSpPr>
        <p:spPr>
          <a:xfrm>
            <a:off x="7605171" y="2525459"/>
            <a:ext cx="1176954" cy="402785"/>
          </a:xfrm>
          <a:prstGeom prst="borderCallout1">
            <a:avLst>
              <a:gd name="adj1" fmla="val 18750"/>
              <a:gd name="adj2" fmla="val -8333"/>
              <a:gd name="adj3" fmla="val 148174"/>
              <a:gd name="adj4" fmla="val -37163"/>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accent1"/>
                </a:solidFill>
              </a:rPr>
              <a:t>Segmentation Model</a:t>
            </a:r>
            <a:endParaRPr lang="en-US" sz="1200" dirty="0">
              <a:solidFill>
                <a:schemeClr val="accent1"/>
              </a:solidFill>
            </a:endParaRPr>
          </a:p>
        </p:txBody>
      </p:sp>
      <p:sp>
        <p:nvSpPr>
          <p:cNvPr id="22" name="Line Callout 1 21"/>
          <p:cNvSpPr/>
          <p:nvPr/>
        </p:nvSpPr>
        <p:spPr>
          <a:xfrm>
            <a:off x="8550484" y="3913419"/>
            <a:ext cx="1282337" cy="402785"/>
          </a:xfrm>
          <a:prstGeom prst="borderCallout1">
            <a:avLst>
              <a:gd name="adj1" fmla="val 18750"/>
              <a:gd name="adj2" fmla="val -8333"/>
              <a:gd name="adj3" fmla="val -93439"/>
              <a:gd name="adj4" fmla="val -34768"/>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accent1"/>
                </a:solidFill>
              </a:rPr>
              <a:t>Propensity Model</a:t>
            </a:r>
            <a:endParaRPr lang="en-US" sz="1200" dirty="0">
              <a:solidFill>
                <a:schemeClr val="accent1"/>
              </a:solidFill>
            </a:endParaRPr>
          </a:p>
        </p:txBody>
      </p:sp>
      <p:pic>
        <p:nvPicPr>
          <p:cNvPr id="27" name="Picture 26"/>
          <p:cNvPicPr>
            <a:picLocks noChangeAspect="1"/>
          </p:cNvPicPr>
          <p:nvPr/>
        </p:nvPicPr>
        <p:blipFill rotWithShape="1">
          <a:blip r:embed="rId3" cstate="print">
            <a:extLst>
              <a:ext uri="{28A0092B-C50C-407E-A947-70E740481C1C}">
                <a14:useLocalDpi xmlns:a14="http://schemas.microsoft.com/office/drawing/2010/main" val="0"/>
              </a:ext>
            </a:extLst>
          </a:blip>
          <a:srcRect l="13321" t="3047" r="12857" b="55620"/>
          <a:stretch/>
        </p:blipFill>
        <p:spPr>
          <a:xfrm>
            <a:off x="8928864" y="2836444"/>
            <a:ext cx="1273323" cy="802064"/>
          </a:xfrm>
          <a:prstGeom prst="rect">
            <a:avLst/>
          </a:prstGeom>
        </p:spPr>
      </p:pic>
      <p:pic>
        <p:nvPicPr>
          <p:cNvPr id="28" name="Picture 27"/>
          <p:cNvPicPr>
            <a:picLocks noChangeAspect="1"/>
          </p:cNvPicPr>
          <p:nvPr/>
        </p:nvPicPr>
        <p:blipFill rotWithShape="1">
          <a:blip r:embed="rId4" cstate="print">
            <a:extLst>
              <a:ext uri="{28A0092B-C50C-407E-A947-70E740481C1C}">
                <a14:useLocalDpi xmlns:a14="http://schemas.microsoft.com/office/drawing/2010/main" val="0"/>
              </a:ext>
            </a:extLst>
          </a:blip>
          <a:srcRect l="6141" t="48857" r="51967"/>
          <a:stretch/>
        </p:blipFill>
        <p:spPr>
          <a:xfrm>
            <a:off x="525365" y="2758991"/>
            <a:ext cx="839383" cy="1152810"/>
          </a:xfrm>
          <a:prstGeom prst="rect">
            <a:avLst/>
          </a:prstGeom>
        </p:spPr>
      </p:pic>
      <p:sp>
        <p:nvSpPr>
          <p:cNvPr id="29" name="Bent Arrow 28"/>
          <p:cNvSpPr/>
          <p:nvPr/>
        </p:nvSpPr>
        <p:spPr>
          <a:xfrm rot="10800000" flipH="1">
            <a:off x="7053589" y="3473896"/>
            <a:ext cx="1715267" cy="1784168"/>
          </a:xfrm>
          <a:prstGeom prst="bentArrow">
            <a:avLst>
              <a:gd name="adj1" fmla="val 15993"/>
              <a:gd name="adj2" fmla="val 14900"/>
              <a:gd name="adj3" fmla="val 20076"/>
              <a:gd name="adj4" fmla="val 249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1" name="Bent Arrow 30"/>
          <p:cNvSpPr/>
          <p:nvPr/>
        </p:nvSpPr>
        <p:spPr>
          <a:xfrm>
            <a:off x="6290856" y="1285363"/>
            <a:ext cx="2454513" cy="1920240"/>
          </a:xfrm>
          <a:prstGeom prst="bentArrow">
            <a:avLst>
              <a:gd name="adj1" fmla="val 15993"/>
              <a:gd name="adj2" fmla="val 12458"/>
              <a:gd name="adj3" fmla="val 20076"/>
              <a:gd name="adj4" fmla="val 249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 name="Rectangle 5"/>
          <p:cNvSpPr/>
          <p:nvPr/>
        </p:nvSpPr>
        <p:spPr>
          <a:xfrm>
            <a:off x="10284122" y="2877846"/>
            <a:ext cx="1415519" cy="830997"/>
          </a:xfrm>
          <a:prstGeom prst="rect">
            <a:avLst/>
          </a:prstGeom>
        </p:spPr>
        <p:txBody>
          <a:bodyPr wrap="square">
            <a:spAutoFit/>
          </a:bodyPr>
          <a:lstStyle/>
          <a:p>
            <a:r>
              <a:rPr lang="en-US" sz="1600" spc="-70" dirty="0">
                <a:solidFill>
                  <a:schemeClr val="tx2"/>
                </a:solidFill>
              </a:rPr>
              <a:t>High-value Customer Agents</a:t>
            </a:r>
          </a:p>
        </p:txBody>
      </p:sp>
      <p:sp>
        <p:nvSpPr>
          <p:cNvPr id="20" name="Rectangle 19"/>
          <p:cNvSpPr/>
          <p:nvPr/>
        </p:nvSpPr>
        <p:spPr>
          <a:xfrm>
            <a:off x="10270459" y="1310167"/>
            <a:ext cx="1405730" cy="584775"/>
          </a:xfrm>
          <a:prstGeom prst="rect">
            <a:avLst/>
          </a:prstGeom>
        </p:spPr>
        <p:txBody>
          <a:bodyPr wrap="square">
            <a:spAutoFit/>
          </a:bodyPr>
          <a:lstStyle/>
          <a:p>
            <a:r>
              <a:rPr lang="en-US" sz="1600" spc="-70" dirty="0" smtClean="0">
                <a:solidFill>
                  <a:schemeClr val="tx2"/>
                </a:solidFill>
              </a:rPr>
              <a:t>Empowered Agents</a:t>
            </a:r>
            <a:endParaRPr lang="en-US" sz="1600" spc="-70" dirty="0">
              <a:solidFill>
                <a:schemeClr val="tx2"/>
              </a:solidFill>
            </a:endParaRPr>
          </a:p>
        </p:txBody>
      </p:sp>
      <p:sp>
        <p:nvSpPr>
          <p:cNvPr id="23" name="Rectangle 22"/>
          <p:cNvSpPr/>
          <p:nvPr/>
        </p:nvSpPr>
        <p:spPr>
          <a:xfrm>
            <a:off x="10291941" y="4919511"/>
            <a:ext cx="1415519" cy="338554"/>
          </a:xfrm>
          <a:prstGeom prst="rect">
            <a:avLst/>
          </a:prstGeom>
        </p:spPr>
        <p:txBody>
          <a:bodyPr wrap="square">
            <a:spAutoFit/>
          </a:bodyPr>
          <a:lstStyle/>
          <a:p>
            <a:r>
              <a:rPr lang="en-US" sz="1600" spc="-70" dirty="0" smtClean="0">
                <a:solidFill>
                  <a:schemeClr val="tx2"/>
                </a:solidFill>
              </a:rPr>
              <a:t>Other Agents</a:t>
            </a:r>
            <a:endParaRPr lang="en-US" sz="1600" spc="-70" dirty="0">
              <a:solidFill>
                <a:schemeClr val="tx2"/>
              </a:solidFill>
            </a:endParaRPr>
          </a:p>
        </p:txBody>
      </p:sp>
      <p:sp>
        <p:nvSpPr>
          <p:cNvPr id="7" name="TextBox 6"/>
          <p:cNvSpPr txBox="1"/>
          <p:nvPr/>
        </p:nvSpPr>
        <p:spPr>
          <a:xfrm>
            <a:off x="6662815" y="1416443"/>
            <a:ext cx="1496895" cy="246221"/>
          </a:xfrm>
          <a:prstGeom prst="rect">
            <a:avLst/>
          </a:prstGeom>
          <a:noFill/>
        </p:spPr>
        <p:txBody>
          <a:bodyPr wrap="square" lIns="0" tIns="0" rIns="0" bIns="0" rtlCol="0">
            <a:spAutoFit/>
          </a:bodyPr>
          <a:lstStyle/>
          <a:p>
            <a:r>
              <a:rPr lang="en-US" sz="1600" spc="-70" dirty="0" smtClean="0">
                <a:gradFill>
                  <a:gsLst>
                    <a:gs pos="2917">
                      <a:schemeClr val="bg2"/>
                    </a:gs>
                    <a:gs pos="95000">
                      <a:schemeClr val="bg2"/>
                    </a:gs>
                  </a:gsLst>
                  <a:lin ang="5400000" scaled="0"/>
                </a:gradFill>
              </a:rPr>
              <a:t>At-risk customers</a:t>
            </a:r>
          </a:p>
        </p:txBody>
      </p:sp>
      <p:pic>
        <p:nvPicPr>
          <p:cNvPr id="24" name="Picture 23"/>
          <p:cNvPicPr>
            <a:picLocks noChangeAspect="1"/>
          </p:cNvPicPr>
          <p:nvPr/>
        </p:nvPicPr>
        <p:blipFill rotWithShape="1">
          <a:blip r:embed="rId3" cstate="print">
            <a:extLst>
              <a:ext uri="{28A0092B-C50C-407E-A947-70E740481C1C}">
                <a14:useLocalDpi xmlns:a14="http://schemas.microsoft.com/office/drawing/2010/main" val="0"/>
              </a:ext>
            </a:extLst>
          </a:blip>
          <a:srcRect l="13321" t="3047" r="12857" b="55620"/>
          <a:stretch/>
        </p:blipFill>
        <p:spPr>
          <a:xfrm>
            <a:off x="8931358" y="4636538"/>
            <a:ext cx="1273323" cy="802064"/>
          </a:xfrm>
          <a:prstGeom prst="rect">
            <a:avLst/>
          </a:prstGeom>
        </p:spPr>
      </p:pic>
      <p:pic>
        <p:nvPicPr>
          <p:cNvPr id="25" name="Picture 24"/>
          <p:cNvPicPr>
            <a:picLocks noChangeAspect="1"/>
          </p:cNvPicPr>
          <p:nvPr/>
        </p:nvPicPr>
        <p:blipFill rotWithShape="1">
          <a:blip r:embed="rId3" cstate="print">
            <a:extLst>
              <a:ext uri="{28A0092B-C50C-407E-A947-70E740481C1C}">
                <a14:useLocalDpi xmlns:a14="http://schemas.microsoft.com/office/drawing/2010/main" val="0"/>
              </a:ext>
            </a:extLst>
          </a:blip>
          <a:srcRect l="13321" t="3047" r="12857" b="55620"/>
          <a:stretch/>
        </p:blipFill>
        <p:spPr>
          <a:xfrm>
            <a:off x="8928864" y="1184065"/>
            <a:ext cx="1273323" cy="802064"/>
          </a:xfrm>
          <a:prstGeom prst="rect">
            <a:avLst/>
          </a:prstGeom>
        </p:spPr>
      </p:pic>
    </p:spTree>
    <p:extLst>
      <p:ext uri="{BB962C8B-B14F-4D97-AF65-F5344CB8AC3E}">
        <p14:creationId xmlns:p14="http://schemas.microsoft.com/office/powerpoint/2010/main" val="3328140665"/>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chnical Path</a:t>
            </a:r>
            <a:endParaRPr lang="en-US" dirty="0"/>
          </a:p>
        </p:txBody>
      </p:sp>
      <p:sp>
        <p:nvSpPr>
          <p:cNvPr id="3" name="Text Placeholder 2"/>
          <p:cNvSpPr>
            <a:spLocks noGrp="1"/>
          </p:cNvSpPr>
          <p:nvPr>
            <p:ph type="body" sz="quarter" idx="12"/>
          </p:nvPr>
        </p:nvSpPr>
        <p:spPr/>
        <p:txBody>
          <a:bodyPr/>
          <a:lstStyle/>
          <a:p>
            <a:r>
              <a:rPr lang="en-US" dirty="0" smtClean="0"/>
              <a:t>What tools accelerate the delivery of machine learning algorithms?</a:t>
            </a:r>
            <a:endParaRPr lang="en-US" dirty="0"/>
          </a:p>
        </p:txBody>
      </p:sp>
    </p:spTree>
    <p:extLst>
      <p:ext uri="{BB962C8B-B14F-4D97-AF65-F5344CB8AC3E}">
        <p14:creationId xmlns:p14="http://schemas.microsoft.com/office/powerpoint/2010/main" val="125235336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Valorem">
  <a:themeElements>
    <a:clrScheme name="Custom 6">
      <a:dk1>
        <a:sysClr val="windowText" lastClr="000000"/>
      </a:dk1>
      <a:lt1>
        <a:sysClr val="window" lastClr="FFFFFF"/>
      </a:lt1>
      <a:dk2>
        <a:srgbClr val="595959"/>
      </a:dk2>
      <a:lt2>
        <a:srgbClr val="FFFFFF"/>
      </a:lt2>
      <a:accent1>
        <a:srgbClr val="303E48"/>
      </a:accent1>
      <a:accent2>
        <a:srgbClr val="0055B8"/>
      </a:accent2>
      <a:accent3>
        <a:srgbClr val="4C8B2B"/>
      </a:accent3>
      <a:accent4>
        <a:srgbClr val="009ADE"/>
      </a:accent4>
      <a:accent5>
        <a:srgbClr val="6CC04A"/>
      </a:accent5>
      <a:accent6>
        <a:srgbClr val="FEA500"/>
      </a:accent6>
      <a:hlink>
        <a:srgbClr val="FEA500"/>
      </a:hlink>
      <a:folHlink>
        <a:srgbClr val="FC4B0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w="25400">
          <a:noFill/>
          <a:headEnd type="triangle"/>
          <a:tailEnd type="none"/>
        </a:ln>
      </a:spPr>
      <a:bodyPr rtlCol="0" anchor="ctr"/>
      <a:lstStyle>
        <a:defPPr algn="ctr">
          <a:defRPr/>
        </a:defPPr>
      </a:lstStyle>
      <a:style>
        <a:lnRef idx="1">
          <a:schemeClr val="accent1"/>
        </a:lnRef>
        <a:fillRef idx="0">
          <a:schemeClr val="accent1"/>
        </a:fillRef>
        <a:effectRef idx="0">
          <a:schemeClr val="accent1"/>
        </a:effectRef>
        <a:fontRef idx="minor">
          <a:schemeClr val="tx1"/>
        </a:fontRef>
      </a:style>
    </a:spDef>
    <a:lnDef>
      <a:spPr>
        <a:ln w="6350">
          <a:solidFill>
            <a:schemeClr val="bg1">
              <a:lumMod val="75000"/>
            </a:schemeClr>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Unofficial O15 Post-Jul16 - Office_Template_2012_16x9_WHITE [Read-Only]" id="{988BD2BE-84F2-4F30-A250-29352BB53896}" vid="{502A3F0F-A4D6-4024-8341-F88BC6E87364}"/>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2" Type="http://schemas.microsoft.com/office/2011/relationships/webextension" Target="webextension2.xml"/><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7">
    <wetp:webextensionref xmlns:r="http://schemas.openxmlformats.org/officeDocument/2006/relationships" r:id="rId1"/>
  </wetp:taskpane>
  <wetp:taskpane dockstate="right" visibility="0" width="350" row="6">
    <wetp:webextensionref xmlns:r="http://schemas.openxmlformats.org/officeDocument/2006/relationships" r:id="rId2"/>
  </wetp:taskpane>
</wetp:taskpanes>
</file>

<file path=ppt/webextensions/webextension1.xml><?xml version="1.0" encoding="utf-8"?>
<we:webextension xmlns:we="http://schemas.microsoft.com/office/webextensions/webextension/2010/11" id="{1B4C4108-813C-4934-B2FC-515B63F97AD1}">
  <we:reference id="wa104380169" version="1.1.0.0" store="en-US" storeType="OMEX"/>
  <we:alternateReferences/>
  <we:properties/>
  <we:bindings/>
  <we:snapshot xmlns:r="http://schemas.openxmlformats.org/officeDocument/2006/relationships"/>
</we:webextension>
</file>

<file path=ppt/webextensions/webextension2.xml><?xml version="1.0" encoding="utf-8"?>
<we:webextension xmlns:we="http://schemas.microsoft.com/office/webextensions/webextension/2010/11" id="{CA75FFD5-7897-47E5-BE45-B1E26FFE59D4}">
  <we:reference id="wa104379997" version="1.0.0.0" store="en-US"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69DABEAF9F8A04D8F1ABBD91AB27C70" ma:contentTypeVersion="7" ma:contentTypeDescription="Create a new document." ma:contentTypeScope="" ma:versionID="0a89eafc657e16e7d2794d66853396f5">
  <xsd:schema xmlns:xsd="http://www.w3.org/2001/XMLSchema" xmlns:xs="http://www.w3.org/2001/XMLSchema" xmlns:p="http://schemas.microsoft.com/office/2006/metadata/properties" xmlns:ns1="http://schemas.microsoft.com/sharepoint/v3" xmlns:ns2="70dcd4cf-9c6e-459d-a4ea-805e647abef2" xmlns:ns3="997ffc08-a8f1-4a33-883c-6fe89f9dd5fa" targetNamespace="http://schemas.microsoft.com/office/2006/metadata/properties" ma:root="true" ma:fieldsID="dfad468a3d3d17ed2d3e439cbe9938e0" ns1:_="" ns2:_="" ns3:_="">
    <xsd:import namespace="http://schemas.microsoft.com/sharepoint/v3"/>
    <xsd:import namespace="70dcd4cf-9c6e-459d-a4ea-805e647abef2"/>
    <xsd:import namespace="997ffc08-a8f1-4a33-883c-6fe89f9dd5fa"/>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1:PublishingStartDate" minOccurs="0"/>
                <xsd:element ref="ns1:PublishingExpirationDate" minOccurs="0"/>
                <xsd:element ref="ns3:MediaServiceAutoTags"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12" nillable="true" ma:displayName="Scheduling Start Date" ma:description="Scheduling Start Date is a site column created by the Publishing feature. It is used to specify the date and time on which this page will first appear to site visitors." ma:internalName="PublishingStartDate">
      <xsd:simpleType>
        <xsd:restriction base="dms:Unknown"/>
      </xsd:simpleType>
    </xsd:element>
    <xsd:element name="PublishingExpirationDate" ma:index="13"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70dcd4cf-9c6e-459d-a4ea-805e647abef2"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997ffc08-a8f1-4a33-883c-6fe89f9dd5fa" elementFormDefault="qualified">
    <xsd:import namespace="http://schemas.microsoft.com/office/2006/documentManagement/types"/>
    <xsd:import namespace="http://schemas.microsoft.com/office/infopath/2007/PartnerControls"/>
    <xsd:element name="MediaServiceMetadata" ma:index="10" nillable="true" ma:displayName="MediaServiceMetadata" ma:description="" ma:hidden="true" ma:internalName="MediaServiceMetadata" ma:readOnly="true">
      <xsd:simpleType>
        <xsd:restriction base="dms:Note"/>
      </xsd:simpleType>
    </xsd:element>
    <xsd:element name="MediaServiceFastMetadata" ma:index="11" nillable="true" ma:displayName="MediaServiceFastMetadata" ma:description="" ma:hidden="true" ma:internalName="MediaServiceFastMetadata" ma:readOnly="true">
      <xsd:simpleType>
        <xsd:restriction base="dms:Note"/>
      </xsd:simpleType>
    </xsd:element>
    <xsd:element name="MediaServiceAutoTags" ma:index="14" nillable="true" ma:displayName="MediaServiceAutoTags" ma:description="" ma:internalName="MediaServiceAutoTags" ma:readOnly="true">
      <xsd:simpleType>
        <xsd:restriction base="dms:Text"/>
      </xsd:simpleType>
    </xsd:element>
    <xsd:element name="MediaServiceDateTaken" ma:index="15" nillable="true" ma:displayName="MediaServiceDateTaken" ma:descriptio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70dcd4cf-9c6e-459d-a4ea-805e647abef2">
      <UserInfo>
        <DisplayName>Steve Cummings</DisplayName>
        <AccountId>212</AccountId>
        <AccountType/>
      </UserInfo>
      <UserInfo>
        <DisplayName>Allison Jensen</DisplayName>
        <AccountId>234</AccountId>
        <AccountType/>
      </UserInfo>
      <UserInfo>
        <DisplayName>Domnick Parretta</DisplayName>
        <AccountId>16</AccountId>
        <AccountType/>
      </UserInfo>
      <UserInfo>
        <DisplayName>Andrea Dancs</DisplayName>
        <AccountId>748</AccountId>
        <AccountType/>
      </UserInfo>
      <UserInfo>
        <DisplayName>Jason Ritchey</DisplayName>
        <AccountId>24</AccountId>
        <AccountType/>
      </UserInfo>
      <UserInfo>
        <DisplayName>Charly Hartley</DisplayName>
        <AccountId>617</AccountId>
        <AccountType/>
      </UserInfo>
    </SharedWithUsers>
    <PublishingExpirationDate xmlns="http://schemas.microsoft.com/sharepoint/v3" xsi:nil="true"/>
    <PublishingStartDate xmlns="http://schemas.microsoft.com/sharepoint/v3" xsi:nil="true"/>
  </documentManagement>
</p:properties>
</file>

<file path=customXml/itemProps1.xml><?xml version="1.0" encoding="utf-8"?>
<ds:datastoreItem xmlns:ds="http://schemas.openxmlformats.org/officeDocument/2006/customXml" ds:itemID="{13F21777-E520-4424-BBFF-9E2AA5AD9F7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70dcd4cf-9c6e-459d-a4ea-805e647abef2"/>
    <ds:schemaRef ds:uri="997ffc08-a8f1-4a33-883c-6fe89f9dd5f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4365AFC-432E-47C3-829B-62446E10221D}">
  <ds:schemaRefs>
    <ds:schemaRef ds:uri="http://schemas.microsoft.com/sharepoint/v3/contenttype/forms"/>
  </ds:schemaRefs>
</ds:datastoreItem>
</file>

<file path=customXml/itemProps3.xml><?xml version="1.0" encoding="utf-8"?>
<ds:datastoreItem xmlns:ds="http://schemas.openxmlformats.org/officeDocument/2006/customXml" ds:itemID="{9D4E24DE-A274-4886-BF1D-9211DC47F961}">
  <ds:schemaRefs>
    <ds:schemaRef ds:uri="http://schemas.microsoft.com/office/2006/documentManagement/types"/>
    <ds:schemaRef ds:uri="http://schemas.microsoft.com/office/2006/metadata/properties"/>
    <ds:schemaRef ds:uri="997ffc08-a8f1-4a33-883c-6fe89f9dd5fa"/>
    <ds:schemaRef ds:uri="http://schemas.openxmlformats.org/package/2006/metadata/core-properties"/>
    <ds:schemaRef ds:uri="http://schemas.microsoft.com/office/infopath/2007/PartnerControls"/>
    <ds:schemaRef ds:uri="70dcd4cf-9c6e-459d-a4ea-805e647abef2"/>
    <ds:schemaRef ds:uri="http://purl.org/dc/dcmitype/"/>
    <ds:schemaRef ds:uri="http://purl.org/dc/terms/"/>
    <ds:schemaRef ds:uri="http://schemas.microsoft.com/sharepoint/v3"/>
    <ds:schemaRef ds:uri="http://www.w3.org/XML/1998/namespace"/>
    <ds:schemaRef ds:uri="http://purl.org/dc/elements/1.1/"/>
  </ds:schemaRefs>
</ds:datastoreItem>
</file>

<file path=docProps/app.xml><?xml version="1.0" encoding="utf-8"?>
<Properties xmlns="http://schemas.openxmlformats.org/officeDocument/2006/extended-properties" xmlns:vt="http://schemas.openxmlformats.org/officeDocument/2006/docPropsVTypes">
  <TotalTime>17852</TotalTime>
  <Words>2305</Words>
  <Application>Microsoft Office PowerPoint</Application>
  <PresentationFormat>Widescreen</PresentationFormat>
  <Paragraphs>359</Paragraphs>
  <Slides>37</Slides>
  <Notes>22</Notes>
  <HiddenSlides>1</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37</vt:i4>
      </vt:variant>
    </vt:vector>
  </HeadingPairs>
  <TitlesOfParts>
    <vt:vector size="48" baseType="lpstr">
      <vt:lpstr>Arial</vt:lpstr>
      <vt:lpstr>Calibri</vt:lpstr>
      <vt:lpstr>Calibri Light</vt:lpstr>
      <vt:lpstr>Cambria Math</vt:lpstr>
      <vt:lpstr>Segoe UI</vt:lpstr>
      <vt:lpstr>Segoe UI Light</vt:lpstr>
      <vt:lpstr>Segoe UI Semibold</vt:lpstr>
      <vt:lpstr>Wingdings</vt:lpstr>
      <vt:lpstr>3_Valorem</vt:lpstr>
      <vt:lpstr>1_Office Theme</vt:lpstr>
      <vt:lpstr>think-cell Slide</vt:lpstr>
      <vt:lpstr>AzureML Walkthrough A Data Journey</vt:lpstr>
      <vt:lpstr>PowerPoint Presentation</vt:lpstr>
      <vt:lpstr>WHO WE ARE</vt:lpstr>
      <vt:lpstr>PowerPoint Presentation</vt:lpstr>
      <vt:lpstr>CAPABILITIES</vt:lpstr>
      <vt:lpstr>Agenda</vt:lpstr>
      <vt:lpstr>Use Case – Business Problem Propensity Modeling</vt:lpstr>
      <vt:lpstr>PowerPoint Presentation</vt:lpstr>
      <vt:lpstr>Technical Path</vt:lpstr>
      <vt:lpstr>AGENDA SLIDE</vt:lpstr>
      <vt:lpstr>AzureML</vt:lpstr>
      <vt:lpstr>AzureML – Propensity Model Demo</vt:lpstr>
      <vt:lpstr>AzureML – Propensity Model Demo</vt:lpstr>
      <vt:lpstr>AzureML – Propensity Model Demo</vt:lpstr>
      <vt:lpstr>AzureML – Propensity Model Demo</vt:lpstr>
      <vt:lpstr>AzureML – Churn Model Demo</vt:lpstr>
      <vt:lpstr>Churn Model – Use Case</vt:lpstr>
      <vt:lpstr>AzureML – ChurnDemo</vt:lpstr>
      <vt:lpstr>AzureML Churn Demo</vt:lpstr>
      <vt:lpstr>AzureML Churn Demo</vt:lpstr>
      <vt:lpstr>PowerPoint Presentation</vt:lpstr>
      <vt:lpstr>PowerPoint Presentation</vt:lpstr>
      <vt:lpstr>AzureML – Segmentation Demo</vt:lpstr>
      <vt:lpstr>AzureML – Segmentation Demo</vt:lpstr>
      <vt:lpstr>Business Problem</vt:lpstr>
      <vt:lpstr>PowerPoint Presentation</vt:lpstr>
      <vt:lpstr>AGENDA SLIDE</vt:lpstr>
      <vt:lpstr>PowerPoint Presentation</vt:lpstr>
      <vt:lpstr>PowerPoint Presentation</vt:lpstr>
      <vt:lpstr>Setup/Prep Requirements</vt:lpstr>
      <vt:lpstr>DEMO</vt:lpstr>
      <vt:lpstr>Demo – Detailed Steps</vt:lpstr>
      <vt:lpstr>Demo – Detailed Steps, Cont’d</vt:lpstr>
      <vt:lpstr>Demo – Detailed Steps, Cont’d</vt:lpstr>
      <vt:lpstr>PowerPoint Presentation</vt:lpstr>
      <vt:lpstr>THANK YOU</vt:lpstr>
      <vt:lpstr>My Not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MMERSIVE APP ENVISIONING</dc:title>
  <dc:creator>Cliff Weaver</dc:creator>
  <cp:lastModifiedBy>Cliff Weaver</cp:lastModifiedBy>
  <cp:revision>61</cp:revision>
  <dcterms:modified xsi:type="dcterms:W3CDTF">2017-11-20T17:47: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69DABEAF9F8A04D8F1ABBD91AB27C70</vt:lpwstr>
  </property>
</Properties>
</file>